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tiff" ContentType="image/tiff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2.xml" ContentType="application/vnd.openxmlformats-officedocument.theme+xml"/>
  <Override PartName="/ppt/ink/ink1.xml" ContentType="application/inkml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4"/>
  </p:sldMasterIdLst>
  <p:notesMasterIdLst>
    <p:notesMasterId r:id="rId35"/>
  </p:notesMasterIdLst>
  <p:sldIdLst>
    <p:sldId id="273" r:id="rId5"/>
    <p:sldId id="272" r:id="rId6"/>
    <p:sldId id="286" r:id="rId7"/>
    <p:sldId id="287" r:id="rId8"/>
    <p:sldId id="288" r:id="rId9"/>
    <p:sldId id="289" r:id="rId10"/>
    <p:sldId id="290" r:id="rId11"/>
    <p:sldId id="296" r:id="rId12"/>
    <p:sldId id="291" r:id="rId13"/>
    <p:sldId id="292" r:id="rId14"/>
    <p:sldId id="293" r:id="rId15"/>
    <p:sldId id="294" r:id="rId16"/>
    <p:sldId id="297" r:id="rId17"/>
    <p:sldId id="298" r:id="rId18"/>
    <p:sldId id="299" r:id="rId19"/>
    <p:sldId id="300" r:id="rId20"/>
    <p:sldId id="301" r:id="rId21"/>
    <p:sldId id="302" r:id="rId22"/>
    <p:sldId id="303" r:id="rId23"/>
    <p:sldId id="304" r:id="rId24"/>
    <p:sldId id="305" r:id="rId25"/>
    <p:sldId id="306" r:id="rId26"/>
    <p:sldId id="325" r:id="rId27"/>
    <p:sldId id="326" r:id="rId28"/>
    <p:sldId id="327" r:id="rId29"/>
    <p:sldId id="328" r:id="rId30"/>
    <p:sldId id="329" r:id="rId31"/>
    <p:sldId id="330" r:id="rId32"/>
    <p:sldId id="331" r:id="rId33"/>
    <p:sldId id="332" r:id="rId34"/>
  </p:sldIdLst>
  <p:sldSz cx="12192000" cy="6858000"/>
  <p:notesSz cx="6797675" cy="9872663"/>
  <p:custDataLst>
    <p:tags r:id="rId36"/>
  </p:custDataLst>
  <p:defaultTextStyle>
    <a:defPPr>
      <a:defRPr lang="en-US"/>
    </a:defPPr>
    <a:lvl1pPr marL="0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1pPr>
    <a:lvl2pPr marL="5119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2pPr>
    <a:lvl3pPr marL="1023967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3pPr>
    <a:lvl4pPr marL="153595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4pPr>
    <a:lvl5pPr marL="204793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5pPr>
    <a:lvl6pPr marL="255991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20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>
        <p15:guide id="1" orient="horz" pos="3109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Charlotte Vittrup" initials="CV" lastIdx="44" clrIdx="0">
    <p:extLst>
      <p:ext uri="{19B8F6BF-5375-455C-9EA6-DF929625EA0E}">
        <p15:presenceInfo xmlns:p15="http://schemas.microsoft.com/office/powerpoint/2012/main" userId="S-1-5-21-2455030247-886758136-1406340923-94286" providerId="AD"/>
      </p:ext>
    </p:extLst>
  </p:cmAuthor>
  <p:cmAuthor id="2" name="Lars Chrois" initials="LC" lastIdx="26" clrIdx="1">
    <p:extLst>
      <p:ext uri="{19B8F6BF-5375-455C-9EA6-DF929625EA0E}">
        <p15:presenceInfo xmlns:p15="http://schemas.microsoft.com/office/powerpoint/2012/main" userId="3ee1608269410e27" providerId="Windows Liv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92D050"/>
    <a:srgbClr val="F0F0F0"/>
    <a:srgbClr val="336699"/>
    <a:srgbClr val="8997A4"/>
    <a:srgbClr val="7C878E"/>
    <a:srgbClr val="000000"/>
    <a:srgbClr val="979797"/>
    <a:srgbClr val="4B4F54"/>
    <a:srgbClr val="606A70"/>
    <a:srgbClr val="D4CFB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756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109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viewProps" Target="viewProps.xml"/><Relationship Id="rId21" Type="http://schemas.openxmlformats.org/officeDocument/2006/relationships/slide" Target="slides/slide17.xml"/><Relationship Id="rId34" Type="http://schemas.openxmlformats.org/officeDocument/2006/relationships/slide" Target="slides/slide30.xml"/><Relationship Id="rId42" Type="http://schemas.microsoft.com/office/2016/11/relationships/changesInfo" Target="changesInfos/changesInfo1.xml"/><Relationship Id="rId7" Type="http://schemas.openxmlformats.org/officeDocument/2006/relationships/slide" Target="slides/slide3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slide" Target="slides/slide25.xml"/><Relationship Id="rId41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slide" Target="slides/slide28.xml"/><Relationship Id="rId37" Type="http://schemas.openxmlformats.org/officeDocument/2006/relationships/commentAuthors" Target="commentAuthors.xml"/><Relationship Id="rId40" Type="http://schemas.openxmlformats.org/officeDocument/2006/relationships/theme" Target="theme/theme1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tags" Target="tags/tag1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31" Type="http://schemas.openxmlformats.org/officeDocument/2006/relationships/slide" Target="slides/slide27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notesMaster" Target="notesMasters/notesMaster1.xml"/><Relationship Id="rId8" Type="http://schemas.openxmlformats.org/officeDocument/2006/relationships/slide" Target="slides/slide4.xml"/><Relationship Id="rId3" Type="http://schemas.openxmlformats.org/officeDocument/2006/relationships/customXml" Target="../customXml/item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slide" Target="slides/slide29.xml"/><Relationship Id="rId38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Valentina Bonucchi" userId="a3c72a79-03ca-4054-8650-fe55237bf169" providerId="ADAL" clId="{1FB296BA-0FD8-4349-A641-194FA5A84825}"/>
    <pc:docChg chg="custSel modSld">
      <pc:chgData name="Valentina Bonucchi" userId="a3c72a79-03ca-4054-8650-fe55237bf169" providerId="ADAL" clId="{1FB296BA-0FD8-4349-A641-194FA5A84825}" dt="2025-03-28T14:16:51.232" v="50" actId="478"/>
      <pc:docMkLst>
        <pc:docMk/>
      </pc:docMkLst>
      <pc:sldChg chg="addSp modSp mod">
        <pc:chgData name="Valentina Bonucchi" userId="a3c72a79-03ca-4054-8650-fe55237bf169" providerId="ADAL" clId="{1FB296BA-0FD8-4349-A641-194FA5A84825}" dt="2025-03-28T14:14:06.663" v="32" actId="14100"/>
        <pc:sldMkLst>
          <pc:docMk/>
          <pc:sldMk cId="3420706413" sldId="288"/>
        </pc:sldMkLst>
      </pc:sldChg>
      <pc:sldChg chg="addSp modSp">
        <pc:chgData name="Valentina Bonucchi" userId="a3c72a79-03ca-4054-8650-fe55237bf169" providerId="ADAL" clId="{1FB296BA-0FD8-4349-A641-194FA5A84825}" dt="2025-03-28T14:14:48.521" v="33"/>
        <pc:sldMkLst>
          <pc:docMk/>
          <pc:sldMk cId="2980377108" sldId="307"/>
        </pc:sldMkLst>
      </pc:sldChg>
      <pc:sldChg chg="addSp modSp">
        <pc:chgData name="Valentina Bonucchi" userId="a3c72a79-03ca-4054-8650-fe55237bf169" providerId="ADAL" clId="{1FB296BA-0FD8-4349-A641-194FA5A84825}" dt="2025-03-28T14:14:52.003" v="34"/>
        <pc:sldMkLst>
          <pc:docMk/>
          <pc:sldMk cId="2840757732" sldId="308"/>
        </pc:sldMkLst>
      </pc:sldChg>
      <pc:sldChg chg="addSp modSp">
        <pc:chgData name="Valentina Bonucchi" userId="a3c72a79-03ca-4054-8650-fe55237bf169" providerId="ADAL" clId="{1FB296BA-0FD8-4349-A641-194FA5A84825}" dt="2025-03-28T14:14:54.703" v="35"/>
        <pc:sldMkLst>
          <pc:docMk/>
          <pc:sldMk cId="4276760801" sldId="310"/>
        </pc:sldMkLst>
      </pc:sldChg>
      <pc:sldChg chg="addSp modSp">
        <pc:chgData name="Valentina Bonucchi" userId="a3c72a79-03ca-4054-8650-fe55237bf169" providerId="ADAL" clId="{1FB296BA-0FD8-4349-A641-194FA5A84825}" dt="2025-03-28T14:14:57.673" v="36"/>
        <pc:sldMkLst>
          <pc:docMk/>
          <pc:sldMk cId="4131261501" sldId="311"/>
        </pc:sldMkLst>
      </pc:sldChg>
      <pc:sldChg chg="addSp modSp">
        <pc:chgData name="Valentina Bonucchi" userId="a3c72a79-03ca-4054-8650-fe55237bf169" providerId="ADAL" clId="{1FB296BA-0FD8-4349-A641-194FA5A84825}" dt="2025-03-28T14:15:00.686" v="37"/>
        <pc:sldMkLst>
          <pc:docMk/>
          <pc:sldMk cId="1675256295" sldId="312"/>
        </pc:sldMkLst>
      </pc:sldChg>
      <pc:sldChg chg="addSp modSp">
        <pc:chgData name="Valentina Bonucchi" userId="a3c72a79-03ca-4054-8650-fe55237bf169" providerId="ADAL" clId="{1FB296BA-0FD8-4349-A641-194FA5A84825}" dt="2025-03-28T14:15:06.559" v="38"/>
        <pc:sldMkLst>
          <pc:docMk/>
          <pc:sldMk cId="323250233" sldId="313"/>
        </pc:sldMkLst>
      </pc:sldChg>
      <pc:sldChg chg="addSp modSp">
        <pc:chgData name="Valentina Bonucchi" userId="a3c72a79-03ca-4054-8650-fe55237bf169" providerId="ADAL" clId="{1FB296BA-0FD8-4349-A641-194FA5A84825}" dt="2025-03-28T14:15:09.456" v="39"/>
        <pc:sldMkLst>
          <pc:docMk/>
          <pc:sldMk cId="611162131" sldId="314"/>
        </pc:sldMkLst>
      </pc:sldChg>
      <pc:sldChg chg="addSp modSp">
        <pc:chgData name="Valentina Bonucchi" userId="a3c72a79-03ca-4054-8650-fe55237bf169" providerId="ADAL" clId="{1FB296BA-0FD8-4349-A641-194FA5A84825}" dt="2025-03-28T14:15:12.381" v="40"/>
        <pc:sldMkLst>
          <pc:docMk/>
          <pc:sldMk cId="2312718621" sldId="315"/>
        </pc:sldMkLst>
      </pc:sldChg>
      <pc:sldChg chg="addSp modSp">
        <pc:chgData name="Valentina Bonucchi" userId="a3c72a79-03ca-4054-8650-fe55237bf169" providerId="ADAL" clId="{1FB296BA-0FD8-4349-A641-194FA5A84825}" dt="2025-03-28T14:15:14.286" v="41"/>
        <pc:sldMkLst>
          <pc:docMk/>
          <pc:sldMk cId="726528040" sldId="316"/>
        </pc:sldMkLst>
      </pc:sldChg>
      <pc:sldChg chg="addSp modSp">
        <pc:chgData name="Valentina Bonucchi" userId="a3c72a79-03ca-4054-8650-fe55237bf169" providerId="ADAL" clId="{1FB296BA-0FD8-4349-A641-194FA5A84825}" dt="2025-03-28T14:15:16.076" v="42"/>
        <pc:sldMkLst>
          <pc:docMk/>
          <pc:sldMk cId="616741745" sldId="317"/>
        </pc:sldMkLst>
      </pc:sldChg>
      <pc:sldChg chg="addSp modSp">
        <pc:chgData name="Valentina Bonucchi" userId="a3c72a79-03ca-4054-8650-fe55237bf169" providerId="ADAL" clId="{1FB296BA-0FD8-4349-A641-194FA5A84825}" dt="2025-03-28T14:15:20.063" v="43"/>
        <pc:sldMkLst>
          <pc:docMk/>
          <pc:sldMk cId="2373248838" sldId="318"/>
        </pc:sldMkLst>
      </pc:sldChg>
      <pc:sldChg chg="addSp modSp">
        <pc:chgData name="Valentina Bonucchi" userId="a3c72a79-03ca-4054-8650-fe55237bf169" providerId="ADAL" clId="{1FB296BA-0FD8-4349-A641-194FA5A84825}" dt="2025-03-28T14:15:21.855" v="44"/>
        <pc:sldMkLst>
          <pc:docMk/>
          <pc:sldMk cId="3883687462" sldId="319"/>
        </pc:sldMkLst>
      </pc:sldChg>
      <pc:sldChg chg="addSp modSp">
        <pc:chgData name="Valentina Bonucchi" userId="a3c72a79-03ca-4054-8650-fe55237bf169" providerId="ADAL" clId="{1FB296BA-0FD8-4349-A641-194FA5A84825}" dt="2025-03-28T14:15:24.410" v="45"/>
        <pc:sldMkLst>
          <pc:docMk/>
          <pc:sldMk cId="3347116903" sldId="320"/>
        </pc:sldMkLst>
      </pc:sldChg>
      <pc:sldChg chg="addSp modSp">
        <pc:chgData name="Valentina Bonucchi" userId="a3c72a79-03ca-4054-8650-fe55237bf169" providerId="ADAL" clId="{1FB296BA-0FD8-4349-A641-194FA5A84825}" dt="2025-03-28T14:15:26.630" v="46"/>
        <pc:sldMkLst>
          <pc:docMk/>
          <pc:sldMk cId="1172483838" sldId="321"/>
        </pc:sldMkLst>
      </pc:sldChg>
      <pc:sldChg chg="addSp delSp modSp mod">
        <pc:chgData name="Valentina Bonucchi" userId="a3c72a79-03ca-4054-8650-fe55237bf169" providerId="ADAL" clId="{1FB296BA-0FD8-4349-A641-194FA5A84825}" dt="2025-03-28T14:16:17.833" v="48" actId="478"/>
        <pc:sldMkLst>
          <pc:docMk/>
          <pc:sldMk cId="304733701" sldId="329"/>
        </pc:sldMkLst>
      </pc:sldChg>
      <pc:sldChg chg="addSp delSp modSp mod">
        <pc:chgData name="Valentina Bonucchi" userId="a3c72a79-03ca-4054-8650-fe55237bf169" providerId="ADAL" clId="{1FB296BA-0FD8-4349-A641-194FA5A84825}" dt="2025-03-28T14:16:51.232" v="50" actId="478"/>
        <pc:sldMkLst>
          <pc:docMk/>
          <pc:sldMk cId="1523591704" sldId="332"/>
        </pc:sldMkLst>
      </pc:sldChg>
    </pc:docChg>
  </pc:docChgLst>
  <pc:docChgLst>
    <pc:chgData name="Valentina Bonucchi" userId="S::vbonucchi@nilfisk.com::a3c72a79-03ca-4054-8650-fe55237bf169" providerId="AD" clId="Web-{F302FCAD-292C-02C0-09A8-2B7D4D210255}"/>
    <pc:docChg chg="modSld">
      <pc:chgData name="Valentina Bonucchi" userId="S::vbonucchi@nilfisk.com::a3c72a79-03ca-4054-8650-fe55237bf169" providerId="AD" clId="Web-{F302FCAD-292C-02C0-09A8-2B7D4D210255}" dt="2025-03-31T11:55:47.260" v="1" actId="20577"/>
      <pc:docMkLst>
        <pc:docMk/>
      </pc:docMkLst>
      <pc:sldChg chg="modSp">
        <pc:chgData name="Valentina Bonucchi" userId="S::vbonucchi@nilfisk.com::a3c72a79-03ca-4054-8650-fe55237bf169" providerId="AD" clId="Web-{F302FCAD-292C-02C0-09A8-2B7D4D210255}" dt="2025-03-31T11:55:47.260" v="1" actId="20577"/>
        <pc:sldMkLst>
          <pc:docMk/>
          <pc:sldMk cId="2820836324" sldId="287"/>
        </pc:sldMkLst>
        <pc:spChg chg="mod">
          <ac:chgData name="Valentina Bonucchi" userId="S::vbonucchi@nilfisk.com::a3c72a79-03ca-4054-8650-fe55237bf169" providerId="AD" clId="Web-{F302FCAD-292C-02C0-09A8-2B7D4D210255}" dt="2025-03-31T11:55:47.260" v="1" actId="20577"/>
          <ac:spMkLst>
            <pc:docMk/>
            <pc:sldMk cId="2820836324" sldId="287"/>
            <ac:spMk id="9" creationId="{449464F2-C050-9C71-CD1D-5F507456CBEC}"/>
          </ac:spMkLst>
        </pc:spChg>
      </pc:sldChg>
    </pc:docChg>
  </pc:docChgLst>
  <pc:docChgLst>
    <pc:chgData clId="Web-{6C47E43E-68FC-8B73-9934-8DFA47E9B181}"/>
    <pc:docChg chg="modSld">
      <pc:chgData name="" userId="" providerId="" clId="Web-{6C47E43E-68FC-8B73-9934-8DFA47E9B181}" dt="2025-03-28T14:00:05.308" v="0" actId="20577"/>
      <pc:docMkLst>
        <pc:docMk/>
      </pc:docMkLst>
      <pc:sldChg chg="modSp">
        <pc:chgData name="" userId="" providerId="" clId="Web-{6C47E43E-68FC-8B73-9934-8DFA47E9B181}" dt="2025-03-28T14:00:05.308" v="0" actId="20577"/>
        <pc:sldMkLst>
          <pc:docMk/>
          <pc:sldMk cId="4178317396" sldId="273"/>
        </pc:sldMkLst>
        <pc:spChg chg="mod">
          <ac:chgData name="" userId="" providerId="" clId="Web-{6C47E43E-68FC-8B73-9934-8DFA47E9B181}" dt="2025-03-28T14:00:05.308" v="0" actId="20577"/>
          <ac:spMkLst>
            <pc:docMk/>
            <pc:sldMk cId="4178317396" sldId="273"/>
            <ac:spMk id="3" creationId="{08F58484-5BC4-4866-93A0-0360B816257A}"/>
          </ac:spMkLst>
        </pc:spChg>
      </pc:sldChg>
    </pc:docChg>
  </pc:docChgLst>
  <pc:docChgLst>
    <pc:chgData name="Adrián Bora" userId="87776703-78bb-46fb-aaa4-c405ef74930d" providerId="ADAL" clId="{F9B96119-4422-4D0A-9AB8-0949D6F95CB3}"/>
    <pc:docChg chg="undo custSel addSld delSld modSld">
      <pc:chgData name="Adrián Bora" userId="87776703-78bb-46fb-aaa4-c405ef74930d" providerId="ADAL" clId="{F9B96119-4422-4D0A-9AB8-0949D6F95CB3}" dt="2025-05-20T08:28:08.681" v="98" actId="20577"/>
      <pc:docMkLst>
        <pc:docMk/>
      </pc:docMkLst>
      <pc:sldChg chg="addSp delSp modSp mod">
        <pc:chgData name="Adrián Bora" userId="87776703-78bb-46fb-aaa4-c405ef74930d" providerId="ADAL" clId="{F9B96119-4422-4D0A-9AB8-0949D6F95CB3}" dt="2025-05-20T08:27:55.020" v="94" actId="1076"/>
        <pc:sldMkLst>
          <pc:docMk/>
          <pc:sldMk cId="1708403942" sldId="272"/>
        </pc:sldMkLst>
        <pc:spChg chg="del">
          <ac:chgData name="Adrián Bora" userId="87776703-78bb-46fb-aaa4-c405ef74930d" providerId="ADAL" clId="{F9B96119-4422-4D0A-9AB8-0949D6F95CB3}" dt="2025-05-20T08:27:24.377" v="41" actId="478"/>
          <ac:spMkLst>
            <pc:docMk/>
            <pc:sldMk cId="1708403942" sldId="272"/>
            <ac:spMk id="7" creationId="{40E66796-D33F-46D4-A7D4-01899DA7D614}"/>
          </ac:spMkLst>
        </pc:spChg>
        <pc:spChg chg="del">
          <ac:chgData name="Adrián Bora" userId="87776703-78bb-46fb-aaa4-c405ef74930d" providerId="ADAL" clId="{F9B96119-4422-4D0A-9AB8-0949D6F95CB3}" dt="2025-05-20T08:27:20.146" v="39" actId="478"/>
          <ac:spMkLst>
            <pc:docMk/>
            <pc:sldMk cId="1708403942" sldId="272"/>
            <ac:spMk id="13" creationId="{42CE94A0-EF79-4011-8AF4-C263AF197290}"/>
          </ac:spMkLst>
        </pc:spChg>
        <pc:spChg chg="add del mod">
          <ac:chgData name="Adrián Bora" userId="87776703-78bb-46fb-aaa4-c405ef74930d" providerId="ADAL" clId="{F9B96119-4422-4D0A-9AB8-0949D6F95CB3}" dt="2025-05-20T08:27:23.090" v="40" actId="478"/>
          <ac:spMkLst>
            <pc:docMk/>
            <pc:sldMk cId="1708403942" sldId="272"/>
            <ac:spMk id="14" creationId="{4F4CDF11-8DBE-8353-ECF4-3EC1763C9556}"/>
          </ac:spMkLst>
        </pc:spChg>
        <pc:spChg chg="add del mod">
          <ac:chgData name="Adrián Bora" userId="87776703-78bb-46fb-aaa4-c405ef74930d" providerId="ADAL" clId="{F9B96119-4422-4D0A-9AB8-0949D6F95CB3}" dt="2025-05-20T08:27:26.075" v="42" actId="478"/>
          <ac:spMkLst>
            <pc:docMk/>
            <pc:sldMk cId="1708403942" sldId="272"/>
            <ac:spMk id="18" creationId="{CD7CD6DA-48EF-2E3F-96FF-767FF7AA1886}"/>
          </ac:spMkLst>
        </pc:spChg>
        <pc:spChg chg="del">
          <ac:chgData name="Adrián Bora" userId="87776703-78bb-46fb-aaa4-c405ef74930d" providerId="ADAL" clId="{F9B96119-4422-4D0A-9AB8-0949D6F95CB3}" dt="2025-05-20T08:27:27.499" v="43" actId="478"/>
          <ac:spMkLst>
            <pc:docMk/>
            <pc:sldMk cId="1708403942" sldId="272"/>
            <ac:spMk id="26" creationId="{DFAA14C1-42CA-253C-C4A1-F9DCA02E6C08}"/>
          </ac:spMkLst>
        </pc:spChg>
        <pc:spChg chg="del">
          <ac:chgData name="Adrián Bora" userId="87776703-78bb-46fb-aaa4-c405ef74930d" providerId="ADAL" clId="{F9B96119-4422-4D0A-9AB8-0949D6F95CB3}" dt="2025-05-20T08:27:31.905" v="46" actId="478"/>
          <ac:spMkLst>
            <pc:docMk/>
            <pc:sldMk cId="1708403942" sldId="272"/>
            <ac:spMk id="27" creationId="{BCC82DC0-CA9F-2388-966E-648195EB3C9A}"/>
          </ac:spMkLst>
        </pc:spChg>
        <pc:spChg chg="mod">
          <ac:chgData name="Adrián Bora" userId="87776703-78bb-46fb-aaa4-c405ef74930d" providerId="ADAL" clId="{F9B96119-4422-4D0A-9AB8-0949D6F95CB3}" dt="2025-05-20T08:27:55.020" v="94" actId="1076"/>
          <ac:spMkLst>
            <pc:docMk/>
            <pc:sldMk cId="1708403942" sldId="272"/>
            <ac:spMk id="28" creationId="{532ACA76-D957-E6D1-9CE0-3673AFF1C875}"/>
          </ac:spMkLst>
        </pc:spChg>
        <pc:spChg chg="mod">
          <ac:chgData name="Adrián Bora" userId="87776703-78bb-46fb-aaa4-c405ef74930d" providerId="ADAL" clId="{F9B96119-4422-4D0A-9AB8-0949D6F95CB3}" dt="2025-05-20T08:27:55.020" v="94" actId="1076"/>
          <ac:spMkLst>
            <pc:docMk/>
            <pc:sldMk cId="1708403942" sldId="272"/>
            <ac:spMk id="29" creationId="{224EB822-25E9-A4F7-6260-4922F5AEA406}"/>
          </ac:spMkLst>
        </pc:spChg>
        <pc:spChg chg="mod">
          <ac:chgData name="Adrián Bora" userId="87776703-78bb-46fb-aaa4-c405ef74930d" providerId="ADAL" clId="{F9B96119-4422-4D0A-9AB8-0949D6F95CB3}" dt="2025-05-20T08:27:55.020" v="94" actId="1076"/>
          <ac:spMkLst>
            <pc:docMk/>
            <pc:sldMk cId="1708403942" sldId="272"/>
            <ac:spMk id="30" creationId="{86E9C1B0-8E0A-9A07-DBA3-3A68B1D4384E}"/>
          </ac:spMkLst>
        </pc:spChg>
        <pc:spChg chg="del">
          <ac:chgData name="Adrián Bora" userId="87776703-78bb-46fb-aaa4-c405ef74930d" providerId="ADAL" clId="{F9B96119-4422-4D0A-9AB8-0949D6F95CB3}" dt="2025-05-20T08:27:28.887" v="44" actId="478"/>
          <ac:spMkLst>
            <pc:docMk/>
            <pc:sldMk cId="1708403942" sldId="272"/>
            <ac:spMk id="31" creationId="{2E45AA3C-844F-90ED-2D24-4889B75C7BC8}"/>
          </ac:spMkLst>
        </pc:spChg>
        <pc:spChg chg="del">
          <ac:chgData name="Adrián Bora" userId="87776703-78bb-46fb-aaa4-c405ef74930d" providerId="ADAL" clId="{F9B96119-4422-4D0A-9AB8-0949D6F95CB3}" dt="2025-05-20T08:27:30.490" v="45" actId="478"/>
          <ac:spMkLst>
            <pc:docMk/>
            <pc:sldMk cId="1708403942" sldId="272"/>
            <ac:spMk id="32" creationId="{D1A49BCD-6287-842F-6D7D-47FF6C8BE0CF}"/>
          </ac:spMkLst>
        </pc:spChg>
        <pc:spChg chg="mod">
          <ac:chgData name="Adrián Bora" userId="87776703-78bb-46fb-aaa4-c405ef74930d" providerId="ADAL" clId="{F9B96119-4422-4D0A-9AB8-0949D6F95CB3}" dt="2025-05-20T08:27:55.020" v="94" actId="1076"/>
          <ac:spMkLst>
            <pc:docMk/>
            <pc:sldMk cId="1708403942" sldId="272"/>
            <ac:spMk id="33" creationId="{35AC0A98-BFC3-957F-7BC3-944261B0076A}"/>
          </ac:spMkLst>
        </pc:spChg>
        <pc:spChg chg="mod">
          <ac:chgData name="Adrián Bora" userId="87776703-78bb-46fb-aaa4-c405ef74930d" providerId="ADAL" clId="{F9B96119-4422-4D0A-9AB8-0949D6F95CB3}" dt="2025-05-20T08:27:55.020" v="94" actId="1076"/>
          <ac:spMkLst>
            <pc:docMk/>
            <pc:sldMk cId="1708403942" sldId="272"/>
            <ac:spMk id="34" creationId="{A191AB01-68E5-793E-150E-162E83C7E4F4}"/>
          </ac:spMkLst>
        </pc:spChg>
        <pc:spChg chg="mod">
          <ac:chgData name="Adrián Bora" userId="87776703-78bb-46fb-aaa4-c405ef74930d" providerId="ADAL" clId="{F9B96119-4422-4D0A-9AB8-0949D6F95CB3}" dt="2025-05-20T08:27:55.020" v="94" actId="1076"/>
          <ac:spMkLst>
            <pc:docMk/>
            <pc:sldMk cId="1708403942" sldId="272"/>
            <ac:spMk id="35" creationId="{BB2ECF18-2EB6-E9AC-9BF4-9593DEB21B42}"/>
          </ac:spMkLst>
        </pc:spChg>
      </pc:sldChg>
      <pc:sldChg chg="modSp mod">
        <pc:chgData name="Adrián Bora" userId="87776703-78bb-46fb-aaa4-c405ef74930d" providerId="ADAL" clId="{F9B96119-4422-4D0A-9AB8-0949D6F95CB3}" dt="2025-05-20T08:28:08.681" v="98" actId="20577"/>
        <pc:sldMkLst>
          <pc:docMk/>
          <pc:sldMk cId="4178317396" sldId="273"/>
        </pc:sldMkLst>
        <pc:spChg chg="mod">
          <ac:chgData name="Adrián Bora" userId="87776703-78bb-46fb-aaa4-c405ef74930d" providerId="ADAL" clId="{F9B96119-4422-4D0A-9AB8-0949D6F95CB3}" dt="2025-05-20T08:28:08.681" v="98" actId="20577"/>
          <ac:spMkLst>
            <pc:docMk/>
            <pc:sldMk cId="4178317396" sldId="273"/>
            <ac:spMk id="3" creationId="{08F58484-5BC4-4866-93A0-0360B816257A}"/>
          </ac:spMkLst>
        </pc:spChg>
      </pc:sldChg>
      <pc:sldChg chg="modSp mod">
        <pc:chgData name="Adrián Bora" userId="87776703-78bb-46fb-aaa4-c405ef74930d" providerId="ADAL" clId="{F9B96119-4422-4D0A-9AB8-0949D6F95CB3}" dt="2025-05-20T08:25:35.736" v="11"/>
        <pc:sldMkLst>
          <pc:docMk/>
          <pc:sldMk cId="1906037255" sldId="289"/>
        </pc:sldMkLst>
        <pc:spChg chg="mod">
          <ac:chgData name="Adrián Bora" userId="87776703-78bb-46fb-aaa4-c405ef74930d" providerId="ADAL" clId="{F9B96119-4422-4D0A-9AB8-0949D6F95CB3}" dt="2025-05-20T08:23:37.742" v="7" actId="20577"/>
          <ac:spMkLst>
            <pc:docMk/>
            <pc:sldMk cId="1906037255" sldId="289"/>
            <ac:spMk id="9" creationId="{52DE5F28-3E35-2B2B-6769-75AAC5FCE894}"/>
          </ac:spMkLst>
        </pc:spChg>
        <pc:spChg chg="mod">
          <ac:chgData name="Adrián Bora" userId="87776703-78bb-46fb-aaa4-c405ef74930d" providerId="ADAL" clId="{F9B96119-4422-4D0A-9AB8-0949D6F95CB3}" dt="2025-05-20T08:25:35.736" v="11"/>
          <ac:spMkLst>
            <pc:docMk/>
            <pc:sldMk cId="1906037255" sldId="289"/>
            <ac:spMk id="11" creationId="{952C45EA-F56C-ADF0-7867-F36ED70A1E53}"/>
          </ac:spMkLst>
        </pc:spChg>
      </pc:sldChg>
      <pc:sldChg chg="del">
        <pc:chgData name="Adrián Bora" userId="87776703-78bb-46fb-aaa4-c405ef74930d" providerId="ADAL" clId="{F9B96119-4422-4D0A-9AB8-0949D6F95CB3}" dt="2025-05-20T08:25:49.121" v="12" actId="47"/>
        <pc:sldMkLst>
          <pc:docMk/>
          <pc:sldMk cId="2980377108" sldId="307"/>
        </pc:sldMkLst>
      </pc:sldChg>
      <pc:sldChg chg="del">
        <pc:chgData name="Adrián Bora" userId="87776703-78bb-46fb-aaa4-c405ef74930d" providerId="ADAL" clId="{F9B96119-4422-4D0A-9AB8-0949D6F95CB3}" dt="2025-05-20T08:25:50.338" v="13" actId="47"/>
        <pc:sldMkLst>
          <pc:docMk/>
          <pc:sldMk cId="2840757732" sldId="308"/>
        </pc:sldMkLst>
      </pc:sldChg>
      <pc:sldChg chg="del">
        <pc:chgData name="Adrián Bora" userId="87776703-78bb-46fb-aaa4-c405ef74930d" providerId="ADAL" clId="{F9B96119-4422-4D0A-9AB8-0949D6F95CB3}" dt="2025-05-20T08:25:51.371" v="14" actId="47"/>
        <pc:sldMkLst>
          <pc:docMk/>
          <pc:sldMk cId="4276760801" sldId="310"/>
        </pc:sldMkLst>
      </pc:sldChg>
      <pc:sldChg chg="del">
        <pc:chgData name="Adrián Bora" userId="87776703-78bb-46fb-aaa4-c405ef74930d" providerId="ADAL" clId="{F9B96119-4422-4D0A-9AB8-0949D6F95CB3}" dt="2025-05-20T08:25:52.543" v="15" actId="47"/>
        <pc:sldMkLst>
          <pc:docMk/>
          <pc:sldMk cId="4131261501" sldId="311"/>
        </pc:sldMkLst>
      </pc:sldChg>
      <pc:sldChg chg="add del">
        <pc:chgData name="Adrián Bora" userId="87776703-78bb-46fb-aaa4-c405ef74930d" providerId="ADAL" clId="{F9B96119-4422-4D0A-9AB8-0949D6F95CB3}" dt="2025-05-20T08:25:59.855" v="18" actId="47"/>
        <pc:sldMkLst>
          <pc:docMk/>
          <pc:sldMk cId="1675256295" sldId="312"/>
        </pc:sldMkLst>
      </pc:sldChg>
      <pc:sldChg chg="del">
        <pc:chgData name="Adrián Bora" userId="87776703-78bb-46fb-aaa4-c405ef74930d" providerId="ADAL" clId="{F9B96119-4422-4D0A-9AB8-0949D6F95CB3}" dt="2025-05-20T08:26:02.277" v="19" actId="47"/>
        <pc:sldMkLst>
          <pc:docMk/>
          <pc:sldMk cId="323250233" sldId="313"/>
        </pc:sldMkLst>
      </pc:sldChg>
      <pc:sldChg chg="del">
        <pc:chgData name="Adrián Bora" userId="87776703-78bb-46fb-aaa4-c405ef74930d" providerId="ADAL" clId="{F9B96119-4422-4D0A-9AB8-0949D6F95CB3}" dt="2025-05-20T08:26:04.097" v="20" actId="47"/>
        <pc:sldMkLst>
          <pc:docMk/>
          <pc:sldMk cId="611162131" sldId="314"/>
        </pc:sldMkLst>
      </pc:sldChg>
      <pc:sldChg chg="del">
        <pc:chgData name="Adrián Bora" userId="87776703-78bb-46fb-aaa4-c405ef74930d" providerId="ADAL" clId="{F9B96119-4422-4D0A-9AB8-0949D6F95CB3}" dt="2025-05-20T08:26:06.271" v="21" actId="47"/>
        <pc:sldMkLst>
          <pc:docMk/>
          <pc:sldMk cId="2312718621" sldId="315"/>
        </pc:sldMkLst>
      </pc:sldChg>
      <pc:sldChg chg="del">
        <pc:chgData name="Adrián Bora" userId="87776703-78bb-46fb-aaa4-c405ef74930d" providerId="ADAL" clId="{F9B96119-4422-4D0A-9AB8-0949D6F95CB3}" dt="2025-05-20T08:26:08.364" v="22" actId="47"/>
        <pc:sldMkLst>
          <pc:docMk/>
          <pc:sldMk cId="726528040" sldId="316"/>
        </pc:sldMkLst>
      </pc:sldChg>
      <pc:sldChg chg="del">
        <pc:chgData name="Adrián Bora" userId="87776703-78bb-46fb-aaa4-c405ef74930d" providerId="ADAL" clId="{F9B96119-4422-4D0A-9AB8-0949D6F95CB3}" dt="2025-05-20T08:26:09.289" v="23" actId="47"/>
        <pc:sldMkLst>
          <pc:docMk/>
          <pc:sldMk cId="616741745" sldId="317"/>
        </pc:sldMkLst>
      </pc:sldChg>
      <pc:sldChg chg="del">
        <pc:chgData name="Adrián Bora" userId="87776703-78bb-46fb-aaa4-c405ef74930d" providerId="ADAL" clId="{F9B96119-4422-4D0A-9AB8-0949D6F95CB3}" dt="2025-05-20T08:26:10.593" v="24" actId="47"/>
        <pc:sldMkLst>
          <pc:docMk/>
          <pc:sldMk cId="2373248838" sldId="318"/>
        </pc:sldMkLst>
      </pc:sldChg>
      <pc:sldChg chg="del">
        <pc:chgData name="Adrián Bora" userId="87776703-78bb-46fb-aaa4-c405ef74930d" providerId="ADAL" clId="{F9B96119-4422-4D0A-9AB8-0949D6F95CB3}" dt="2025-05-20T08:26:11.399" v="25" actId="47"/>
        <pc:sldMkLst>
          <pc:docMk/>
          <pc:sldMk cId="3883687462" sldId="319"/>
        </pc:sldMkLst>
      </pc:sldChg>
      <pc:sldChg chg="del">
        <pc:chgData name="Adrián Bora" userId="87776703-78bb-46fb-aaa4-c405ef74930d" providerId="ADAL" clId="{F9B96119-4422-4D0A-9AB8-0949D6F95CB3}" dt="2025-05-20T08:26:12.101" v="26" actId="47"/>
        <pc:sldMkLst>
          <pc:docMk/>
          <pc:sldMk cId="3347116903" sldId="320"/>
        </pc:sldMkLst>
      </pc:sldChg>
      <pc:sldChg chg="del">
        <pc:chgData name="Adrián Bora" userId="87776703-78bb-46fb-aaa4-c405ef74930d" providerId="ADAL" clId="{F9B96119-4422-4D0A-9AB8-0949D6F95CB3}" dt="2025-05-20T08:26:12.749" v="27" actId="47"/>
        <pc:sldMkLst>
          <pc:docMk/>
          <pc:sldMk cId="1172483838" sldId="321"/>
        </pc:sldMkLst>
      </pc:sldChg>
      <pc:sldChg chg="del">
        <pc:chgData name="Adrián Bora" userId="87776703-78bb-46fb-aaa4-c405ef74930d" providerId="ADAL" clId="{F9B96119-4422-4D0A-9AB8-0949D6F95CB3}" dt="2025-05-20T08:26:14.268" v="28" actId="47"/>
        <pc:sldMkLst>
          <pc:docMk/>
          <pc:sldMk cId="1541069443" sldId="322"/>
        </pc:sldMkLst>
      </pc:sldChg>
      <pc:sldChg chg="del">
        <pc:chgData name="Adrián Bora" userId="87776703-78bb-46fb-aaa4-c405ef74930d" providerId="ADAL" clId="{F9B96119-4422-4D0A-9AB8-0949D6F95CB3}" dt="2025-05-20T08:26:15.186" v="29" actId="47"/>
        <pc:sldMkLst>
          <pc:docMk/>
          <pc:sldMk cId="736995549" sldId="323"/>
        </pc:sldMkLst>
      </pc:sldChg>
      <pc:sldChg chg="del">
        <pc:chgData name="Adrián Bora" userId="87776703-78bb-46fb-aaa4-c405ef74930d" providerId="ADAL" clId="{F9B96119-4422-4D0A-9AB8-0949D6F95CB3}" dt="2025-05-20T08:26:16.144" v="30" actId="47"/>
        <pc:sldMkLst>
          <pc:docMk/>
          <pc:sldMk cId="1007961907" sldId="324"/>
        </pc:sldMkLst>
      </pc:sldChg>
      <pc:sldChg chg="modSp mod">
        <pc:chgData name="Adrián Bora" userId="87776703-78bb-46fb-aaa4-c405ef74930d" providerId="ADAL" clId="{F9B96119-4422-4D0A-9AB8-0949D6F95CB3}" dt="2025-05-20T08:26:31.115" v="33" actId="20577"/>
        <pc:sldMkLst>
          <pc:docMk/>
          <pc:sldMk cId="3627274592" sldId="325"/>
        </pc:sldMkLst>
        <pc:spChg chg="mod">
          <ac:chgData name="Adrián Bora" userId="87776703-78bb-46fb-aaa4-c405ef74930d" providerId="ADAL" clId="{F9B96119-4422-4D0A-9AB8-0949D6F95CB3}" dt="2025-05-20T08:26:31.115" v="33" actId="20577"/>
          <ac:spMkLst>
            <pc:docMk/>
            <pc:sldMk cId="3627274592" sldId="325"/>
            <ac:spMk id="18" creationId="{D70A894D-AC78-EA68-3BA9-60AB274EB97C}"/>
          </ac:spMkLst>
        </pc:spChg>
      </pc:sldChg>
      <pc:sldChg chg="modSp mod">
        <pc:chgData name="Adrián Bora" userId="87776703-78bb-46fb-aaa4-c405ef74930d" providerId="ADAL" clId="{F9B96119-4422-4D0A-9AB8-0949D6F95CB3}" dt="2025-05-20T08:26:34.079" v="35" actId="20577"/>
        <pc:sldMkLst>
          <pc:docMk/>
          <pc:sldMk cId="2505340220" sldId="328"/>
        </pc:sldMkLst>
        <pc:spChg chg="mod">
          <ac:chgData name="Adrián Bora" userId="87776703-78bb-46fb-aaa4-c405ef74930d" providerId="ADAL" clId="{F9B96119-4422-4D0A-9AB8-0949D6F95CB3}" dt="2025-05-20T08:26:34.079" v="35" actId="20577"/>
          <ac:spMkLst>
            <pc:docMk/>
            <pc:sldMk cId="2505340220" sldId="328"/>
            <ac:spMk id="18" creationId="{68020946-926D-D6A8-788A-7283130F3715}"/>
          </ac:spMkLst>
        </pc:spChg>
      </pc:sldChg>
      <pc:sldChg chg="modSp mod">
        <pc:chgData name="Adrián Bora" userId="87776703-78bb-46fb-aaa4-c405ef74930d" providerId="ADAL" clId="{F9B96119-4422-4D0A-9AB8-0949D6F95CB3}" dt="2025-05-20T08:26:40.951" v="38" actId="20577"/>
        <pc:sldMkLst>
          <pc:docMk/>
          <pc:sldMk cId="3683466201" sldId="331"/>
        </pc:sldMkLst>
        <pc:spChg chg="mod">
          <ac:chgData name="Adrián Bora" userId="87776703-78bb-46fb-aaa4-c405ef74930d" providerId="ADAL" clId="{F9B96119-4422-4D0A-9AB8-0949D6F95CB3}" dt="2025-05-20T08:26:40.951" v="38" actId="20577"/>
          <ac:spMkLst>
            <pc:docMk/>
            <pc:sldMk cId="3683466201" sldId="331"/>
            <ac:spMk id="18" creationId="{881ACCC7-2451-7549-D107-95DCD8974AB8}"/>
          </ac:spMkLst>
        </pc:spChg>
      </pc:sldChg>
    </pc:docChg>
  </pc:docChgLst>
  <pc:docChgLst>
    <pc:chgData clId="Web-{FC0D944C-CC09-896D-01E6-AF818DACD470}"/>
    <pc:docChg chg="sldOrd">
      <pc:chgData name="" userId="" providerId="" clId="Web-{FC0D944C-CC09-896D-01E6-AF818DACD470}" dt="2025-04-07T06:00:34.334" v="0"/>
      <pc:docMkLst>
        <pc:docMk/>
      </pc:docMkLst>
      <pc:sldChg chg="ord">
        <pc:chgData name="" userId="" providerId="" clId="Web-{FC0D944C-CC09-896D-01E6-AF818DACD470}" dt="2025-04-07T06:00:34.334" v="0"/>
        <pc:sldMkLst>
          <pc:docMk/>
          <pc:sldMk cId="1708403942" sldId="272"/>
        </pc:sldMkLst>
      </pc:sldChg>
    </pc:docChg>
  </pc:docChgLst>
  <pc:docChgLst>
    <pc:chgData name="Alessandro Carrera" userId="S::acarrera@nilfisk.com::5be9d746-c9ca-44cb-bc16-cd4bc0734324" providerId="AD" clId="Web-{763B77AD-4884-7B17-BFDE-468D376E1369}"/>
    <pc:docChg chg="modSld">
      <pc:chgData name="Alessandro Carrera" userId="S::acarrera@nilfisk.com::5be9d746-c9ca-44cb-bc16-cd4bc0734324" providerId="AD" clId="Web-{763B77AD-4884-7B17-BFDE-468D376E1369}" dt="2025-04-04T10:09:23.985" v="74" actId="20577"/>
      <pc:docMkLst>
        <pc:docMk/>
      </pc:docMkLst>
      <pc:sldChg chg="addSp delSp modSp">
        <pc:chgData name="Alessandro Carrera" userId="S::acarrera@nilfisk.com::5be9d746-c9ca-44cb-bc16-cd4bc0734324" providerId="AD" clId="Web-{763B77AD-4884-7B17-BFDE-468D376E1369}" dt="2025-04-04T10:08:21.357" v="66" actId="20577"/>
        <pc:sldMkLst>
          <pc:docMk/>
          <pc:sldMk cId="113623048" sldId="292"/>
        </pc:sldMkLst>
        <pc:spChg chg="mod">
          <ac:chgData name="Alessandro Carrera" userId="S::acarrera@nilfisk.com::5be9d746-c9ca-44cb-bc16-cd4bc0734324" providerId="AD" clId="Web-{763B77AD-4884-7B17-BFDE-468D376E1369}" dt="2025-04-04T10:08:21.357" v="66" actId="20577"/>
          <ac:spMkLst>
            <pc:docMk/>
            <pc:sldMk cId="113623048" sldId="292"/>
            <ac:spMk id="59" creationId="{10911D24-5D10-52A8-B62D-87928E7BFE5C}"/>
          </ac:spMkLst>
        </pc:spChg>
        <pc:picChg chg="add mod">
          <ac:chgData name="Alessandro Carrera" userId="S::acarrera@nilfisk.com::5be9d746-c9ca-44cb-bc16-cd4bc0734324" providerId="AD" clId="Web-{763B77AD-4884-7B17-BFDE-468D376E1369}" dt="2025-04-04T09:24:14.751" v="5" actId="14100"/>
          <ac:picMkLst>
            <pc:docMk/>
            <pc:sldMk cId="113623048" sldId="292"/>
            <ac:picMk id="2" creationId="{DA67A934-1433-85D2-9E93-CAF53A10B3E7}"/>
          </ac:picMkLst>
        </pc:picChg>
      </pc:sldChg>
      <pc:sldChg chg="modSp">
        <pc:chgData name="Alessandro Carrera" userId="S::acarrera@nilfisk.com::5be9d746-c9ca-44cb-bc16-cd4bc0734324" providerId="AD" clId="Web-{763B77AD-4884-7B17-BFDE-468D376E1369}" dt="2025-04-04T09:26:13.979" v="30" actId="20577"/>
        <pc:sldMkLst>
          <pc:docMk/>
          <pc:sldMk cId="4092667751" sldId="294"/>
        </pc:sldMkLst>
        <pc:spChg chg="mod">
          <ac:chgData name="Alessandro Carrera" userId="S::acarrera@nilfisk.com::5be9d746-c9ca-44cb-bc16-cd4bc0734324" providerId="AD" clId="Web-{763B77AD-4884-7B17-BFDE-468D376E1369}" dt="2025-04-04T09:24:52.129" v="9" actId="20577"/>
          <ac:spMkLst>
            <pc:docMk/>
            <pc:sldMk cId="4092667751" sldId="294"/>
            <ac:spMk id="7" creationId="{7C49861A-1611-9A31-E9EC-41F3ADFA6D87}"/>
          </ac:spMkLst>
        </pc:spChg>
        <pc:spChg chg="mod">
          <ac:chgData name="Alessandro Carrera" userId="S::acarrera@nilfisk.com::5be9d746-c9ca-44cb-bc16-cd4bc0734324" providerId="AD" clId="Web-{763B77AD-4884-7B17-BFDE-468D376E1369}" dt="2025-04-04T09:26:13.979" v="30" actId="20577"/>
          <ac:spMkLst>
            <pc:docMk/>
            <pc:sldMk cId="4092667751" sldId="294"/>
            <ac:spMk id="15" creationId="{9536DBFD-9D5A-4E7B-BCD9-DDB9023F4DC8}"/>
          </ac:spMkLst>
        </pc:spChg>
      </pc:sldChg>
      <pc:sldChg chg="modSp">
        <pc:chgData name="Alessandro Carrera" userId="S::acarrera@nilfisk.com::5be9d746-c9ca-44cb-bc16-cd4bc0734324" providerId="AD" clId="Web-{763B77AD-4884-7B17-BFDE-468D376E1369}" dt="2025-04-04T09:25:16.021" v="12" actId="20577"/>
        <pc:sldMkLst>
          <pc:docMk/>
          <pc:sldMk cId="3765471353" sldId="297"/>
        </pc:sldMkLst>
        <pc:spChg chg="mod">
          <ac:chgData name="Alessandro Carrera" userId="S::acarrera@nilfisk.com::5be9d746-c9ca-44cb-bc16-cd4bc0734324" providerId="AD" clId="Web-{763B77AD-4884-7B17-BFDE-468D376E1369}" dt="2025-04-04T09:25:16.021" v="12" actId="20577"/>
          <ac:spMkLst>
            <pc:docMk/>
            <pc:sldMk cId="3765471353" sldId="297"/>
            <ac:spMk id="7" creationId="{173A4D75-6A33-468D-34B3-53F46895A397}"/>
          </ac:spMkLst>
        </pc:spChg>
      </pc:sldChg>
      <pc:sldChg chg="delSp">
        <pc:chgData name="Alessandro Carrera" userId="S::acarrera@nilfisk.com::5be9d746-c9ca-44cb-bc16-cd4bc0734324" providerId="AD" clId="Web-{763B77AD-4884-7B17-BFDE-468D376E1369}" dt="2025-04-04T09:26:24.183" v="31"/>
        <pc:sldMkLst>
          <pc:docMk/>
          <pc:sldMk cId="1719398609" sldId="298"/>
        </pc:sldMkLst>
      </pc:sldChg>
      <pc:sldChg chg="delSp">
        <pc:chgData name="Alessandro Carrera" userId="S::acarrera@nilfisk.com::5be9d746-c9ca-44cb-bc16-cd4bc0734324" providerId="AD" clId="Web-{763B77AD-4884-7B17-BFDE-468D376E1369}" dt="2025-04-04T09:26:30.199" v="32"/>
        <pc:sldMkLst>
          <pc:docMk/>
          <pc:sldMk cId="149704244" sldId="299"/>
        </pc:sldMkLst>
      </pc:sldChg>
      <pc:sldChg chg="modSp">
        <pc:chgData name="Alessandro Carrera" userId="S::acarrera@nilfisk.com::5be9d746-c9ca-44cb-bc16-cd4bc0734324" providerId="AD" clId="Web-{763B77AD-4884-7B17-BFDE-468D376E1369}" dt="2025-04-04T10:09:23.985" v="74" actId="20577"/>
        <pc:sldMkLst>
          <pc:docMk/>
          <pc:sldMk cId="551571567" sldId="301"/>
        </pc:sldMkLst>
        <pc:spChg chg="mod">
          <ac:chgData name="Alessandro Carrera" userId="S::acarrera@nilfisk.com::5be9d746-c9ca-44cb-bc16-cd4bc0734324" providerId="AD" clId="Web-{763B77AD-4884-7B17-BFDE-468D376E1369}" dt="2025-04-04T10:09:23.985" v="74" actId="20577"/>
          <ac:spMkLst>
            <pc:docMk/>
            <pc:sldMk cId="551571567" sldId="301"/>
            <ac:spMk id="21" creationId="{C777FBBF-58CA-6354-CAB7-E5B52B9E84F4}"/>
          </ac:spMkLst>
        </pc:spChg>
      </pc:sldChg>
      <pc:sldChg chg="delSp">
        <pc:chgData name="Alessandro Carrera" userId="S::acarrera@nilfisk.com::5be9d746-c9ca-44cb-bc16-cd4bc0734324" providerId="AD" clId="Web-{763B77AD-4884-7B17-BFDE-468D376E1369}" dt="2025-04-04T09:26:40.340" v="33"/>
        <pc:sldMkLst>
          <pc:docMk/>
          <pc:sldMk cId="4071690348" sldId="304"/>
        </pc:sldMkLst>
      </pc:sldChg>
      <pc:sldChg chg="modSp">
        <pc:chgData name="Alessandro Carrera" userId="S::acarrera@nilfisk.com::5be9d746-c9ca-44cb-bc16-cd4bc0734324" providerId="AD" clId="Web-{763B77AD-4884-7B17-BFDE-468D376E1369}" dt="2025-04-04T09:27:06.389" v="42" actId="20577"/>
        <pc:sldMkLst>
          <pc:docMk/>
          <pc:sldMk cId="2046041168" sldId="305"/>
        </pc:sldMkLst>
        <pc:spChg chg="mod">
          <ac:chgData name="Alessandro Carrera" userId="S::acarrera@nilfisk.com::5be9d746-c9ca-44cb-bc16-cd4bc0734324" providerId="AD" clId="Web-{763B77AD-4884-7B17-BFDE-468D376E1369}" dt="2025-04-04T09:27:06.389" v="42" actId="20577"/>
          <ac:spMkLst>
            <pc:docMk/>
            <pc:sldMk cId="2046041168" sldId="305"/>
            <ac:spMk id="35" creationId="{0F5D757F-252C-C3F0-7120-A2D5F74468D3}"/>
          </ac:spMkLst>
        </pc:spChg>
      </pc:sldChg>
      <pc:sldChg chg="modSp">
        <pc:chgData name="Alessandro Carrera" userId="S::acarrera@nilfisk.com::5be9d746-c9ca-44cb-bc16-cd4bc0734324" providerId="AD" clId="Web-{763B77AD-4884-7B17-BFDE-468D376E1369}" dt="2025-04-04T09:27:57.330" v="48" actId="20577"/>
        <pc:sldMkLst>
          <pc:docMk/>
          <pc:sldMk cId="3471206748" sldId="306"/>
        </pc:sldMkLst>
        <pc:spChg chg="mod">
          <ac:chgData name="Alessandro Carrera" userId="S::acarrera@nilfisk.com::5be9d746-c9ca-44cb-bc16-cd4bc0734324" providerId="AD" clId="Web-{763B77AD-4884-7B17-BFDE-468D376E1369}" dt="2025-04-04T09:27:57.330" v="48" actId="20577"/>
          <ac:spMkLst>
            <pc:docMk/>
            <pc:sldMk cId="3471206748" sldId="306"/>
            <ac:spMk id="9" creationId="{A9B40B99-FE6D-C696-CD8A-4E3CE3B78336}"/>
          </ac:spMkLst>
        </pc:spChg>
      </pc:sldChg>
      <pc:sldChg chg="modSp">
        <pc:chgData name="Alessandro Carrera" userId="S::acarrera@nilfisk.com::5be9d746-c9ca-44cb-bc16-cd4bc0734324" providerId="AD" clId="Web-{763B77AD-4884-7B17-BFDE-468D376E1369}" dt="2025-04-04T09:29:01.850" v="54" actId="20577"/>
        <pc:sldMkLst>
          <pc:docMk/>
          <pc:sldMk cId="1172483838" sldId="321"/>
        </pc:sldMkLst>
      </pc:sldChg>
      <pc:sldChg chg="modSp">
        <pc:chgData name="Alessandro Carrera" userId="S::acarrera@nilfisk.com::5be9d746-c9ca-44cb-bc16-cd4bc0734324" providerId="AD" clId="Web-{763B77AD-4884-7B17-BFDE-468D376E1369}" dt="2025-04-04T10:06:58.417" v="61" actId="20577"/>
        <pc:sldMkLst>
          <pc:docMk/>
          <pc:sldMk cId="304733701" sldId="329"/>
        </pc:sldMkLst>
        <pc:spChg chg="mod">
          <ac:chgData name="Alessandro Carrera" userId="S::acarrera@nilfisk.com::5be9d746-c9ca-44cb-bc16-cd4bc0734324" providerId="AD" clId="Web-{763B77AD-4884-7B17-BFDE-468D376E1369}" dt="2025-04-04T10:06:58.417" v="61" actId="20577"/>
          <ac:spMkLst>
            <pc:docMk/>
            <pc:sldMk cId="304733701" sldId="329"/>
            <ac:spMk id="44" creationId="{09011FA7-30B9-0D62-836E-7A1CB8C3338F}"/>
          </ac:spMkLst>
        </pc:spChg>
      </pc:sldChg>
    </pc:docChg>
  </pc:docChgLst>
</pc:chgInfo>
</file>

<file path=ppt/ink/ink1.xml><?xml version="1.0" encoding="utf-8"?>
<inkml:ink xmlns:inkml="http://www.w3.org/2003/InkML">
  <inkml:definitions>
    <inkml:context xml:id="ctx0">
      <inkml:inkSource xml:id="inkSrc0">
        <inkml:traceFormat>
          <inkml:channel name="X" type="integer" min="-2.14748E9" max="2.14748E9" units="cm"/>
          <inkml:channel name="Y" type="integer" min="-2.14748E9" max="2.14748E9" units="cm"/>
          <inkml:channel name="F" type="integer" max="32767" units="dev"/>
        </inkml:traceFormat>
        <inkml:channelProperties>
          <inkml:channelProperty channel="X" name="resolution" value="1000" units="1/cm"/>
          <inkml:channelProperty channel="Y" name="resolution" value="1000" units="1/cm"/>
          <inkml:channelProperty channel="F" name="resolution" value="0" units="1/dev"/>
        </inkml:channelProperties>
      </inkml:inkSource>
      <inkml:timestamp xml:id="ts0" timeString="2021-12-20T19:20:06.845"/>
    </inkml:context>
    <inkml:brush xml:id="br0">
      <inkml:brushProperty name="width" value="0.05" units="cm"/>
      <inkml:brushProperty name="height" value="0.05" units="cm"/>
      <inkml:brushProperty name="color" value="#008C3A"/>
    </inkml:brush>
  </inkml:definitions>
  <inkml:trace contextRef="#ctx0" brushRef="#br0">0 1 7578,'0'0'1600</inkml:trace>
</inkml:ink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050"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377487DA-082B-4712-87EF-A52F989376F6}" type="datetimeFigureOut">
              <a:rPr lang="en-US" smtClean="0"/>
              <a:pPr/>
              <a:t>5/20/2025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54CEA7-A081-4B80-B0DE-E1334A21D67A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1pPr>
    <a:lvl2pPr marL="51198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2pPr>
    <a:lvl3pPr marL="1023967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3pPr>
    <a:lvl4pPr marL="1535951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4pPr>
    <a:lvl5pPr marL="2047934" algn="l" defTabSz="1023967" rtl="0" eaLnBrk="1" latinLnBrk="0" hangingPunct="1">
      <a:defRPr sz="1050" kern="1200">
        <a:solidFill>
          <a:schemeClr val="tx1"/>
        </a:solidFill>
        <a:latin typeface="Arial" panose="020B0604020202020204" pitchFamily="34" charset="0"/>
        <a:ea typeface="+mn-ea"/>
        <a:cs typeface="Arial" panose="020B0604020202020204" pitchFamily="34" charset="0"/>
      </a:defRPr>
    </a:lvl5pPr>
    <a:lvl6pPr marL="255991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3071901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583884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4095868" algn="l" defTabSz="1023967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3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3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3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3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3.emf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/>
          <p:cNvSpPr>
            <a:spLocks noGrp="1"/>
          </p:cNvSpPr>
          <p:nvPr>
            <p:ph type="pic" sz="quarter" idx="14"/>
          </p:nvPr>
        </p:nvSpPr>
        <p:spPr>
          <a:xfrm>
            <a:off x="0" y="1"/>
            <a:ext cx="12192000" cy="6273799"/>
          </a:xfrm>
        </p:spPr>
        <p:txBody>
          <a:bodyPr tIns="1249724" anchor="ctr"/>
          <a:lstStyle>
            <a:lvl1pPr marL="0" indent="0" algn="ctr">
              <a:buNone/>
              <a:defRPr sz="1600" i="1"/>
            </a:lvl1pPr>
          </a:lstStyle>
          <a:p>
            <a:r>
              <a:rPr lang="pl-PL" noProof="0"/>
              <a:t>Kliknij ikonę, aby dodać obraz</a:t>
            </a:r>
            <a:endParaRPr lang="en-US" noProof="0"/>
          </a:p>
        </p:txBody>
      </p:sp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0380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B69735F-A452-4024-977F-DD52AC156A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Click to edit Presentation Headline.</a:t>
            </a:r>
            <a:br>
              <a:rPr lang="en-US"/>
            </a:br>
            <a:r>
              <a:rPr lang="en-US"/>
              <a:t>Use White or Nilfisk Dark as text color.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9BBDEE45-E090-44D1-98D1-825385BC723C}"/>
              </a:ext>
            </a:extLst>
          </p:cNvPr>
          <p:cNvSpPr/>
          <p:nvPr userDrawn="1"/>
        </p:nvSpPr>
        <p:spPr>
          <a:xfrm>
            <a:off x="348343" y="6479177"/>
            <a:ext cx="975360" cy="269966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0734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ur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ontent Placeholder 18"/>
          <p:cNvSpPr>
            <a:spLocks noGrp="1"/>
          </p:cNvSpPr>
          <p:nvPr>
            <p:ph sz="quarter" idx="18"/>
          </p:nvPr>
        </p:nvSpPr>
        <p:spPr>
          <a:xfrm>
            <a:off x="479425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/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4880018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2" name="Content Placeholder 18">
            <a:extLst>
              <a:ext uri="{FF2B5EF4-FFF2-40B4-BE49-F238E27FC236}">
                <a16:creationId xmlns:a16="http://schemas.microsoft.com/office/drawing/2014/main" id="{6D336ECD-29CC-48D0-B322-298E9D3E152B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3361796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7A89B6B4-D22F-43E5-8EC2-AD07CBFD8568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361795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4" name="Content Placeholder 18">
            <a:extLst>
              <a:ext uri="{FF2B5EF4-FFF2-40B4-BE49-F238E27FC236}">
                <a16:creationId xmlns:a16="http://schemas.microsoft.com/office/drawing/2014/main" id="{4CB7A7D7-2A49-427E-874B-C10B706C1E77}"/>
              </a:ext>
            </a:extLst>
          </p:cNvPr>
          <p:cNvSpPr>
            <a:spLocks noGrp="1"/>
          </p:cNvSpPr>
          <p:nvPr>
            <p:ph sz="quarter" idx="25"/>
          </p:nvPr>
        </p:nvSpPr>
        <p:spPr>
          <a:xfrm>
            <a:off x="624416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706FD9DE-D534-40CE-BADF-4806A01DAC4C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44166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26" name="Content Placeholder 18">
            <a:extLst>
              <a:ext uri="{FF2B5EF4-FFF2-40B4-BE49-F238E27FC236}">
                <a16:creationId xmlns:a16="http://schemas.microsoft.com/office/drawing/2014/main" id="{47DA4058-84EF-461D-934F-D341A5BB3D40}"/>
              </a:ext>
            </a:extLst>
          </p:cNvPr>
          <p:cNvSpPr>
            <a:spLocks noGrp="1"/>
          </p:cNvSpPr>
          <p:nvPr>
            <p:ph sz="quarter" idx="27"/>
          </p:nvPr>
        </p:nvSpPr>
        <p:spPr>
          <a:xfrm>
            <a:off x="9126537" y="1529985"/>
            <a:ext cx="2586038" cy="4594372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64000" rIns="180000" bIns="216000" rtlCol="0">
            <a:noAutofit/>
          </a:bodyPr>
          <a:lstStyle>
            <a:lvl1pPr>
              <a:defRPr lang="en-US" noProof="0" dirty="0"/>
            </a:lvl1pPr>
            <a:lvl2pPr>
              <a:defRPr lang="en-US" noProof="0" dirty="0"/>
            </a:lvl2pPr>
            <a:lvl3pPr>
              <a:defRPr lang="en-US" noProof="0" dirty="0"/>
            </a:lvl3pPr>
            <a:lvl4pPr>
              <a:defRPr lang="en-US" noProof="0" dirty="0"/>
            </a:lvl4pPr>
            <a:lvl5pPr>
              <a:defRPr lang="en-US" noProof="0" dirty="0"/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/>
          </a:p>
        </p:txBody>
      </p: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B11B367-A392-4D07-A3AA-FEA082E5DFB0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9126537" y="1531915"/>
            <a:ext cx="2586038" cy="775354"/>
          </a:xfrm>
          <a:noFill/>
        </p:spPr>
        <p:txBody>
          <a:bodyPr lIns="216000" tIns="180000" rIns="144000" bIns="0" anchor="t">
            <a:noAutofit/>
          </a:bodyPr>
          <a:lstStyle>
            <a:lvl1pPr marL="0" indent="0">
              <a:buNone/>
              <a:defRPr b="1">
                <a:solidFill>
                  <a:schemeClr val="accent3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Insert content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1BAD02FB-189A-4BD4-8E2E-B325B0929E8F}"/>
              </a:ext>
            </a:extLst>
          </p:cNvPr>
          <p:cNvSpPr>
            <a:spLocks noGrp="1"/>
          </p:cNvSpPr>
          <p:nvPr>
            <p:ph type="dt" sz="half" idx="29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A0ABC626-455B-41B0-A0E7-A5E156590607}" type="datetime1">
              <a:rPr lang="en-US" smtClean="0"/>
              <a:pPr/>
              <a:t>5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36B14F-11E0-4889-A413-CB3C7AFF79B4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9B28851-AA76-4129-AC91-31C430AE821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6" name="Text Placeholder 7">
            <a:extLst>
              <a:ext uri="{FF2B5EF4-FFF2-40B4-BE49-F238E27FC236}">
                <a16:creationId xmlns:a16="http://schemas.microsoft.com/office/drawing/2014/main" id="{0C4B6512-58D0-4126-A96F-DCE2BC492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7" name="Title Placeholder 1">
            <a:extLst>
              <a:ext uri="{FF2B5EF4-FFF2-40B4-BE49-F238E27FC236}">
                <a16:creationId xmlns:a16="http://schemas.microsoft.com/office/drawing/2014/main" id="{164CE1CF-9577-4E95-9A2E-848CA260D9F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3125988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3">
            <a:extLst>
              <a:ext uri="{FF2B5EF4-FFF2-40B4-BE49-F238E27FC236}">
                <a16:creationId xmlns:a16="http://schemas.microsoft.com/office/drawing/2014/main" id="{208B418E-47E7-4CB3-9272-AFFEF9163A3D}"/>
              </a:ext>
            </a:extLst>
          </p:cNvPr>
          <p:cNvSpPr>
            <a:spLocks noGrp="1"/>
          </p:cNvSpPr>
          <p:nvPr>
            <p:ph type="pic" sz="quarter" idx="23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169619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1064435" y="2805514"/>
            <a:ext cx="4269012" cy="623486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</a:t>
            </a:r>
            <a:br>
              <a:rPr lang="en-US" noProof="0"/>
            </a:br>
            <a:r>
              <a:rPr lang="en-US" noProof="0"/>
              <a:t>Master text styles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6644154" y="2803583"/>
            <a:ext cx="4267530" cy="622719"/>
          </a:xfrm>
          <a:noFill/>
        </p:spPr>
        <p:txBody>
          <a:bodyPr lIns="144000" tIns="0" rIns="144000" bIns="0" anchor="ctr">
            <a:noAutofit/>
          </a:bodyPr>
          <a:lstStyle>
            <a:lvl1pPr marL="0" indent="0" algn="ctr">
              <a:lnSpc>
                <a:spcPts val="1700"/>
              </a:lnSpc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1064435" y="3429001"/>
            <a:ext cx="4269012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20" name="Content Placeholder 18"/>
          <p:cNvSpPr>
            <a:spLocks noGrp="1"/>
          </p:cNvSpPr>
          <p:nvPr>
            <p:ph sz="quarter" idx="19" hasCustomPrompt="1"/>
          </p:nvPr>
        </p:nvSpPr>
        <p:spPr>
          <a:xfrm>
            <a:off x="6644154" y="3426304"/>
            <a:ext cx="4267531" cy="2748516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606E51-302A-402C-B20F-54F37450EF5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2824031" y="2079363"/>
            <a:ext cx="698400" cy="698238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AA946F2A-6D15-4356-AACE-77B713052445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8424045" y="2079363"/>
            <a:ext cx="698400" cy="698238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24436295-A04E-410C-BC96-E703F87AF8FB}"/>
              </a:ext>
            </a:extLst>
          </p:cNvPr>
          <p:cNvSpPr>
            <a:spLocks noGrp="1"/>
          </p:cNvSpPr>
          <p:nvPr>
            <p:ph type="dt" sz="half" idx="45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A0ABC626-455B-41B0-A0E7-A5E156590607}" type="datetime1">
              <a:rPr lang="en-US" smtClean="0"/>
              <a:pPr/>
              <a:t>5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0B2DE98-0117-4A18-88E2-669F6FB209A4}"/>
              </a:ext>
            </a:extLst>
          </p:cNvPr>
          <p:cNvSpPr>
            <a:spLocks noGrp="1"/>
          </p:cNvSpPr>
          <p:nvPr>
            <p:ph type="ftr" sz="quarter" idx="4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1D719EE-E991-4D3D-BAFB-EB072BFB1EEB}"/>
              </a:ext>
            </a:extLst>
          </p:cNvPr>
          <p:cNvSpPr>
            <a:spLocks noGrp="1"/>
          </p:cNvSpPr>
          <p:nvPr>
            <p:ph type="sldNum" sz="quarter" idx="4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FC155D83-CC89-488D-A2E1-DDEE95784B5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2" name="Title Placeholder 1">
            <a:extLst>
              <a:ext uri="{FF2B5EF4-FFF2-40B4-BE49-F238E27FC236}">
                <a16:creationId xmlns:a16="http://schemas.microsoft.com/office/drawing/2014/main" id="{2CEEA349-D809-4E4C-BA93-BCE8AF64CA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7616912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3">
            <a:extLst>
              <a:ext uri="{FF2B5EF4-FFF2-40B4-BE49-F238E27FC236}">
                <a16:creationId xmlns:a16="http://schemas.microsoft.com/office/drawing/2014/main" id="{004E70DC-C3D2-4252-9260-04CDF1B85E16}"/>
              </a:ext>
            </a:extLst>
          </p:cNvPr>
          <p:cNvSpPr>
            <a:spLocks noGrp="1"/>
          </p:cNvSpPr>
          <p:nvPr>
            <p:ph type="pic" sz="quarter" idx="25" hasCustomPrompt="1"/>
          </p:nvPr>
        </p:nvSpPr>
        <p:spPr>
          <a:xfrm>
            <a:off x="0" y="1"/>
            <a:ext cx="12192000" cy="2488018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13" name="Object 1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03443689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270" imgH="270" progId="TCLayout.ActiveDocument.1">
                  <p:embed/>
                </p:oleObj>
              </mc:Choice>
              <mc:Fallback>
                <p:oleObj name="Diapositiva think-cell" r:id="rId3" imgW="270" imgH="270" progId="TCLayout.ActiveDocument.1">
                  <p:embed/>
                  <p:pic>
                    <p:nvPicPr>
                      <p:cNvPr id="13" name="Object 1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10"/>
          <p:cNvSpPr>
            <a:spLocks noGrp="1"/>
          </p:cNvSpPr>
          <p:nvPr>
            <p:ph type="body" sz="quarter" idx="13" hasCustomPrompt="1"/>
          </p:nvPr>
        </p:nvSpPr>
        <p:spPr>
          <a:xfrm>
            <a:off x="479426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19" name="Content Placeholder 18"/>
          <p:cNvSpPr>
            <a:spLocks noGrp="1"/>
          </p:cNvSpPr>
          <p:nvPr>
            <p:ph sz="quarter" idx="18" hasCustomPrompt="1"/>
          </p:nvPr>
        </p:nvSpPr>
        <p:spPr>
          <a:xfrm>
            <a:off x="479426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777F5BC-90F4-414E-B27A-79BDF9D40929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428341" y="2079363"/>
            <a:ext cx="828000" cy="828000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2" name="Text Placeholder 10">
            <a:extLst>
              <a:ext uri="{FF2B5EF4-FFF2-40B4-BE49-F238E27FC236}">
                <a16:creationId xmlns:a16="http://schemas.microsoft.com/office/drawing/2014/main" id="{BD7EB420-7E8D-454A-92D5-C50919056636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3315198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3" name="Content Placeholder 18">
            <a:extLst>
              <a:ext uri="{FF2B5EF4-FFF2-40B4-BE49-F238E27FC236}">
                <a16:creationId xmlns:a16="http://schemas.microsoft.com/office/drawing/2014/main" id="{B228A39C-C8A6-4AC7-96A3-25A525A9A4F2}"/>
              </a:ext>
            </a:extLst>
          </p:cNvPr>
          <p:cNvSpPr>
            <a:spLocks noGrp="1"/>
          </p:cNvSpPr>
          <p:nvPr>
            <p:ph sz="quarter" idx="45" hasCustomPrompt="1"/>
          </p:nvPr>
        </p:nvSpPr>
        <p:spPr>
          <a:xfrm>
            <a:off x="3315199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47F886A1-D69F-4044-9B1C-2C721E721AF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4264113" y="2079363"/>
            <a:ext cx="828000" cy="828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5" name="Text Placeholder 10">
            <a:extLst>
              <a:ext uri="{FF2B5EF4-FFF2-40B4-BE49-F238E27FC236}">
                <a16:creationId xmlns:a16="http://schemas.microsoft.com/office/drawing/2014/main" id="{B89EAACB-7074-471C-BBA2-8BF0CC3E4EB9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6150970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6" name="Content Placeholder 18">
            <a:extLst>
              <a:ext uri="{FF2B5EF4-FFF2-40B4-BE49-F238E27FC236}">
                <a16:creationId xmlns:a16="http://schemas.microsoft.com/office/drawing/2014/main" id="{EB79EFFE-A060-4C8D-BD8F-E52045C9C7EF}"/>
              </a:ext>
            </a:extLst>
          </p:cNvPr>
          <p:cNvSpPr>
            <a:spLocks noGrp="1"/>
          </p:cNvSpPr>
          <p:nvPr>
            <p:ph sz="quarter" idx="48" hasCustomPrompt="1"/>
          </p:nvPr>
        </p:nvSpPr>
        <p:spPr>
          <a:xfrm>
            <a:off x="6150972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3BEA2D42-9FD4-4716-AB0B-9632B9F8E378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099885" y="2079363"/>
            <a:ext cx="828000" cy="828000"/>
          </a:xfrm>
          <a:prstGeom prst="ellipse">
            <a:avLst/>
          </a:prstGeom>
          <a:solidFill>
            <a:schemeClr val="accent2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8" name="Text Placeholder 10">
            <a:extLst>
              <a:ext uri="{FF2B5EF4-FFF2-40B4-BE49-F238E27FC236}">
                <a16:creationId xmlns:a16="http://schemas.microsoft.com/office/drawing/2014/main" id="{8FD4303F-49FA-457B-B244-4E8B906863CA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8986744" y="2914458"/>
            <a:ext cx="2725830" cy="622800"/>
          </a:xfrm>
          <a:noFill/>
        </p:spPr>
        <p:txBody>
          <a:bodyPr lIns="144000" tIns="0" rIns="144000" bIns="0" anchor="ctr">
            <a:noAutofit/>
          </a:bodyPr>
          <a:lstStyle>
            <a:lvl1pPr marL="0" indent="0">
              <a:buNone/>
              <a:defRPr b="1">
                <a:solidFill>
                  <a:schemeClr val="tx1"/>
                </a:solidFill>
                <a:latin typeface="+mj-lt"/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Click to edit Master text styles</a:t>
            </a:r>
          </a:p>
        </p:txBody>
      </p:sp>
      <p:sp>
        <p:nvSpPr>
          <p:cNvPr id="39" name="Content Placeholder 18">
            <a:extLst>
              <a:ext uri="{FF2B5EF4-FFF2-40B4-BE49-F238E27FC236}">
                <a16:creationId xmlns:a16="http://schemas.microsoft.com/office/drawing/2014/main" id="{03E82EC9-6A37-4D1E-933C-F9272C7F54EE}"/>
              </a:ext>
            </a:extLst>
          </p:cNvPr>
          <p:cNvSpPr>
            <a:spLocks noGrp="1"/>
          </p:cNvSpPr>
          <p:nvPr>
            <p:ph sz="quarter" idx="51" hasCustomPrompt="1"/>
          </p:nvPr>
        </p:nvSpPr>
        <p:spPr>
          <a:xfrm>
            <a:off x="8986744" y="3535328"/>
            <a:ext cx="2725830" cy="2652821"/>
          </a:xfrm>
          <a:noFill/>
        </p:spPr>
        <p:txBody>
          <a:bodyPr lIns="144000" tIns="144000" rIns="144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0169E3EB-3F89-482B-9603-7497CA07EED3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9935659" y="2079363"/>
            <a:ext cx="828000" cy="828000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7381527C-8083-4F64-ACF8-D0782F8C892E}"/>
              </a:ext>
            </a:extLst>
          </p:cNvPr>
          <p:cNvSpPr>
            <a:spLocks noGrp="1"/>
          </p:cNvSpPr>
          <p:nvPr>
            <p:ph type="dt" sz="half" idx="53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A0ABC626-455B-41B0-A0E7-A5E156590607}" type="datetime1">
              <a:rPr lang="en-US" smtClean="0"/>
              <a:pPr/>
              <a:t>5/20/2025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7F89F93-34D9-4219-91BC-313CBE6E7366}"/>
              </a:ext>
            </a:extLst>
          </p:cNvPr>
          <p:cNvSpPr>
            <a:spLocks noGrp="1"/>
          </p:cNvSpPr>
          <p:nvPr>
            <p:ph type="ftr" sz="quarter" idx="5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C6A6AB2-CD6B-4C00-BDB7-580562DE15F6}"/>
              </a:ext>
            </a:extLst>
          </p:cNvPr>
          <p:cNvSpPr>
            <a:spLocks noGrp="1"/>
          </p:cNvSpPr>
          <p:nvPr>
            <p:ph type="sldNum" sz="quarter" idx="5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22" name="Text Placeholder 7">
            <a:extLst>
              <a:ext uri="{FF2B5EF4-FFF2-40B4-BE49-F238E27FC236}">
                <a16:creationId xmlns:a16="http://schemas.microsoft.com/office/drawing/2014/main" id="{B42607E9-9610-476B-930F-0A957641313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23" name="Title Placeholder 1">
            <a:extLst>
              <a:ext uri="{FF2B5EF4-FFF2-40B4-BE49-F238E27FC236}">
                <a16:creationId xmlns:a16="http://schemas.microsoft.com/office/drawing/2014/main" id="{26FADBE2-42E3-44BC-9BB9-E8F8F24A893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36861199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lko tytu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4888757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1C9D9593-6010-4D84-B698-3916B996FA30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A0ABC626-455B-41B0-A0E7-A5E156590607}" type="datetime1">
              <a:rPr lang="en-US" smtClean="0"/>
              <a:pPr/>
              <a:t>5/2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8C73727-0AEF-4180-9A25-9D9E4AA4CDE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140819-2DD2-4C6A-B2BA-661DD2B0CB85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9F31923-D926-4EC1-927C-8708EF07DF2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9" name="Title Placeholder 1">
            <a:extLst>
              <a:ext uri="{FF2B5EF4-FFF2-40B4-BE49-F238E27FC236}">
                <a16:creationId xmlns:a16="http://schemas.microsoft.com/office/drawing/2014/main" id="{9B7F5197-BFC0-474F-8B91-9B266F1A87C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30597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79569955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icture Placeholder 3">
            <a:extLst>
              <a:ext uri="{FF2B5EF4-FFF2-40B4-BE49-F238E27FC236}">
                <a16:creationId xmlns:a16="http://schemas.microsoft.com/office/drawing/2014/main" id="{270A7E1B-06C4-491A-A7D6-5E2BF0B762AA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205538" y="0"/>
            <a:ext cx="5986461" cy="628489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6292EC8F-CA80-4608-8BBB-26EAD825248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507038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FD0F7C6-431E-46C4-9429-A3D456CBADB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A0ABC626-455B-41B0-A0E7-A5E156590607}" type="datetime1">
              <a:rPr lang="en-US" smtClean="0"/>
              <a:pPr/>
              <a:t>5/2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8820383-CC25-496B-BB92-273CBD649C18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20F88412-719A-4E27-BE3B-7A6D9C0B356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AD0C1278-E9AE-4168-A595-99A55EA23DF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5507038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7B0E5E79-8AD5-4282-B864-D586098D06A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5506081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6313013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7638528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EC72F5BB-D66A-4AE5-BE40-DAC7B5574161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200776" y="1412875"/>
            <a:ext cx="5511800" cy="4870450"/>
          </a:xfrm>
          <a:noFill/>
        </p:spPr>
        <p:txBody>
          <a:bodyPr lIns="0" tIns="0" rIns="0" bIns="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B5B7800E-C1F4-4988-9830-63D6CD965A31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0"/>
            <a:ext cx="5986463" cy="6283325"/>
          </a:xfrm>
        </p:spPr>
        <p:txBody>
          <a:bodyPr lIns="0" tIns="0" rIns="0" bIns="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54AC8E3-7E26-425E-8440-6C36641BAB2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A0ABC626-455B-41B0-A0E7-A5E156590607}" type="datetime1">
              <a:rPr lang="en-US" smtClean="0"/>
              <a:pPr/>
              <a:t>5/20/2025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22B9DD0-AE94-45C4-ABB9-A2AE218DA70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3D825D-904C-4C01-BE1D-29445C0E59F0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08A57AA-70F0-446E-8A3A-71C82A9FED9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205539" y="873877"/>
            <a:ext cx="5505084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1" name="Title Placeholder 1">
            <a:extLst>
              <a:ext uri="{FF2B5EF4-FFF2-40B4-BE49-F238E27FC236}">
                <a16:creationId xmlns:a16="http://schemas.microsoft.com/office/drawing/2014/main" id="{16E8E331-60E3-42A0-B941-83830F3205B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08447" y="494490"/>
            <a:ext cx="5504128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917395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hart -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18">
            <a:extLst>
              <a:ext uri="{FF2B5EF4-FFF2-40B4-BE49-F238E27FC236}">
                <a16:creationId xmlns:a16="http://schemas.microsoft.com/office/drawing/2014/main" id="{13F9A983-C937-4508-B213-1A5EC060D73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  <a:solidFill>
            <a:schemeClr val="bg2">
              <a:lumMod val="20000"/>
              <a:lumOff val="80000"/>
            </a:schemeClr>
          </a:solidFill>
        </p:spPr>
        <p:txBody>
          <a:bodyPr lIns="288000" tIns="1692000" rIns="432000" bIns="180000" anchor="t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/>
          </a:p>
        </p:txBody>
      </p:sp>
      <p:sp>
        <p:nvSpPr>
          <p:cNvPr id="12" name="Chart Placeholder 3">
            <a:extLst>
              <a:ext uri="{FF2B5EF4-FFF2-40B4-BE49-F238E27FC236}">
                <a16:creationId xmlns:a16="http://schemas.microsoft.com/office/drawing/2014/main" id="{BD4EEDF5-749A-4E0A-9F2C-5DB6EC42D113}"/>
              </a:ext>
            </a:extLst>
          </p:cNvPr>
          <p:cNvSpPr>
            <a:spLocks noGrp="1"/>
          </p:cNvSpPr>
          <p:nvPr>
            <p:ph type="chart" sz="quarter" idx="17"/>
          </p:nvPr>
        </p:nvSpPr>
        <p:spPr>
          <a:xfrm>
            <a:off x="473569" y="1412875"/>
            <a:ext cx="7692236" cy="4870449"/>
          </a:xfrm>
        </p:spPr>
        <p:txBody>
          <a:bodyPr/>
          <a:lstStyle/>
          <a:p>
            <a:r>
              <a:rPr lang="pl-PL"/>
              <a:t>Kliknij ikonę, aby dodać wykres</a:t>
            </a:r>
            <a:endParaRPr lang="en-US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1B3F6EE-929F-475B-BA0D-BAE5642C0B50}"/>
              </a:ext>
            </a:extLst>
          </p:cNvPr>
          <p:cNvSpPr>
            <a:spLocks noGrp="1"/>
          </p:cNvSpPr>
          <p:nvPr>
            <p:ph type="dt" sz="half" idx="18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A0ABC626-455B-41B0-A0E7-A5E156590607}" type="datetime1">
              <a:rPr lang="en-US" smtClean="0"/>
              <a:pPr/>
              <a:t>5/2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356A101-CC96-4EEA-A848-52CCEB16DA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8E14E5D-3CDA-4372-B95E-72D345C3A38C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F8C0934-E3E7-4664-8099-283D222151C8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7864216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4" name="Title Placeholder 1">
            <a:extLst>
              <a:ext uri="{FF2B5EF4-FFF2-40B4-BE49-F238E27FC236}">
                <a16:creationId xmlns:a16="http://schemas.microsoft.com/office/drawing/2014/main" id="{54AC913B-9002-46E4-B468-3AFC28ABEC0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78628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406003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3">
            <a:extLst>
              <a:ext uri="{FF2B5EF4-FFF2-40B4-BE49-F238E27FC236}">
                <a16:creationId xmlns:a16="http://schemas.microsoft.com/office/drawing/2014/main" id="{08B08A26-BAAF-4968-8268-454F68923264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0" y="1"/>
            <a:ext cx="12192000" cy="6283324"/>
          </a:xfrm>
        </p:spPr>
        <p:txBody>
          <a:bodyPr lIns="72000" tIns="71974" rIns="71974" bIns="72000" anchor="b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  <a:br>
              <a:rPr lang="en-US" noProof="0"/>
            </a:br>
            <a:br>
              <a:rPr lang="en-US" noProof="0"/>
            </a:br>
            <a:r>
              <a:rPr lang="en-US" noProof="0"/>
              <a:t>Note that the picture will be inserted on top of the text placeholder.</a:t>
            </a:r>
            <a:br>
              <a:rPr lang="en-US" noProof="0"/>
            </a:br>
            <a:r>
              <a:rPr lang="en-US" noProof="0"/>
              <a:t>Therefore, in order to insert text, right click the picture and choose "Send to back"</a:t>
            </a:r>
          </a:p>
        </p:txBody>
      </p:sp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09278807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530" imgH="528" progId="TCLayout.ActiveDocument.1">
                  <p:embed/>
                </p:oleObj>
              </mc:Choice>
              <mc:Fallback>
                <p:oleObj name="Diapositiva think-cell" r:id="rId3" imgW="530" imgH="528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Date Placeholder 8">
            <a:extLst>
              <a:ext uri="{FF2B5EF4-FFF2-40B4-BE49-F238E27FC236}">
                <a16:creationId xmlns:a16="http://schemas.microsoft.com/office/drawing/2014/main" id="{2A6F7A33-E8CB-44EE-8CDF-D0B516341419}"/>
              </a:ext>
            </a:extLst>
          </p:cNvPr>
          <p:cNvSpPr>
            <a:spLocks noGrp="1"/>
          </p:cNvSpPr>
          <p:nvPr>
            <p:ph type="dt" sz="half" idx="19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A0ABC626-455B-41B0-A0E7-A5E156590607}" type="datetime1">
              <a:rPr lang="en-US" smtClean="0"/>
              <a:pPr/>
              <a:t>5/20/2025</a:t>
            </a:fld>
            <a:endParaRPr lang="en-US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B7AC1C34-2EEF-4748-B554-904EDB9E2B1A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54698D3A-A577-4AD4-9616-F4D5993A770C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5D4A826-2FEC-4303-893D-3DA3EF3C1E3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669851"/>
            <a:ext cx="11233150" cy="1169582"/>
          </a:xfrm>
        </p:spPr>
        <p:txBody>
          <a:bodyPr/>
          <a:lstStyle>
            <a:lvl1pPr algn="ctr">
              <a:lnSpc>
                <a:spcPts val="4000"/>
              </a:lnSpc>
              <a:defRPr sz="4000"/>
            </a:lvl1pPr>
          </a:lstStyle>
          <a:p>
            <a:r>
              <a:rPr lang="en-US"/>
              <a:t>Insert closing headline.</a:t>
            </a:r>
            <a:br>
              <a:rPr lang="en-US"/>
            </a:br>
            <a:r>
              <a:rPr lang="en-US"/>
              <a:t>Use white or dark colored text.</a:t>
            </a:r>
          </a:p>
        </p:txBody>
      </p:sp>
    </p:spTree>
    <p:extLst>
      <p:ext uri="{BB962C8B-B14F-4D97-AF65-F5344CB8AC3E}">
        <p14:creationId xmlns:p14="http://schemas.microsoft.com/office/powerpoint/2010/main" val="32510284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ps and corporate guideline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7" name="Rectangle 96">
            <a:extLst>
              <a:ext uri="{FF2B5EF4-FFF2-40B4-BE49-F238E27FC236}">
                <a16:creationId xmlns:a16="http://schemas.microsoft.com/office/drawing/2014/main" id="{908D9CAA-34CE-479D-8E34-30EAE7DFFC9C}"/>
              </a:ext>
            </a:extLst>
          </p:cNvPr>
          <p:cNvSpPr/>
          <p:nvPr userDrawn="1"/>
        </p:nvSpPr>
        <p:spPr>
          <a:xfrm>
            <a:off x="6204108" y="1014232"/>
            <a:ext cx="5516547" cy="519239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96" name="Rectangle 95">
            <a:extLst>
              <a:ext uri="{FF2B5EF4-FFF2-40B4-BE49-F238E27FC236}">
                <a16:creationId xmlns:a16="http://schemas.microsoft.com/office/drawing/2014/main" id="{365DD7DB-93FC-4CE9-BB55-707FAD0F9441}"/>
              </a:ext>
            </a:extLst>
          </p:cNvPr>
          <p:cNvSpPr/>
          <p:nvPr userDrawn="1"/>
        </p:nvSpPr>
        <p:spPr>
          <a:xfrm>
            <a:off x="3574137" y="1014234"/>
            <a:ext cx="2534124" cy="349854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43" name="Rectangle 42">
            <a:extLst>
              <a:ext uri="{FF2B5EF4-FFF2-40B4-BE49-F238E27FC236}">
                <a16:creationId xmlns:a16="http://schemas.microsoft.com/office/drawing/2014/main" id="{930F4D85-8103-4DAC-83B9-2EA8A555B766}"/>
              </a:ext>
            </a:extLst>
          </p:cNvPr>
          <p:cNvSpPr/>
          <p:nvPr userDrawn="1"/>
        </p:nvSpPr>
        <p:spPr>
          <a:xfrm>
            <a:off x="479425" y="1014232"/>
            <a:ext cx="2999687" cy="3498545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pic>
        <p:nvPicPr>
          <p:cNvPr id="42" name="Picture 41">
            <a:extLst>
              <a:ext uri="{FF2B5EF4-FFF2-40B4-BE49-F238E27FC236}">
                <a16:creationId xmlns:a16="http://schemas.microsoft.com/office/drawing/2014/main" id="{C8352981-5F56-444D-A675-E830B4DDC19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469662" y="1607847"/>
            <a:ext cx="1229752" cy="1373815"/>
          </a:xfrm>
          <a:prstGeom prst="rect">
            <a:avLst/>
          </a:prstGeom>
          <a:ln w="3175">
            <a:solidFill>
              <a:schemeClr val="bg2"/>
            </a:solidFill>
          </a:ln>
        </p:spPr>
      </p:pic>
      <p:sp>
        <p:nvSpPr>
          <p:cNvPr id="11" name="TextBox 10"/>
          <p:cNvSpPr txBox="1"/>
          <p:nvPr userDrawn="1"/>
        </p:nvSpPr>
        <p:spPr>
          <a:xfrm>
            <a:off x="2068307" y="1599603"/>
            <a:ext cx="1420105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ELECT SLIDE LAYOUTS</a:t>
            </a:r>
          </a:p>
        </p:txBody>
      </p:sp>
      <p:sp>
        <p:nvSpPr>
          <p:cNvPr id="12" name="TextBox 11"/>
          <p:cNvSpPr txBox="1"/>
          <p:nvPr userDrawn="1"/>
        </p:nvSpPr>
        <p:spPr>
          <a:xfrm>
            <a:off x="2068308" y="1767283"/>
            <a:ext cx="1366324" cy="36933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ind title, agendas, section header, plain content and picture layouts:</a:t>
            </a:r>
          </a:p>
        </p:txBody>
      </p:sp>
      <p:sp>
        <p:nvSpPr>
          <p:cNvPr id="13" name="TextBox 12"/>
          <p:cNvSpPr txBox="1"/>
          <p:nvPr userDrawn="1"/>
        </p:nvSpPr>
        <p:spPr>
          <a:xfrm>
            <a:off x="2068309" y="2268336"/>
            <a:ext cx="1357023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New Slide</a:t>
            </a:r>
          </a:p>
          <a:p>
            <a:pPr defTabSz="914400"/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Home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Layout </a:t>
            </a:r>
            <a:r>
              <a:rPr lang="en-US" sz="800" b="0">
                <a:solidFill>
                  <a:schemeClr val="tx1"/>
                </a:solidFill>
                <a:latin typeface="+mn-lt"/>
                <a:cs typeface="Arial" pitchFamily="34" charset="0"/>
              </a:rPr>
              <a:t>(to change existing layout)</a:t>
            </a:r>
          </a:p>
        </p:txBody>
      </p:sp>
      <p:sp>
        <p:nvSpPr>
          <p:cNvPr id="14" name="TextBox 13"/>
          <p:cNvSpPr txBox="1"/>
          <p:nvPr userDrawn="1"/>
        </p:nvSpPr>
        <p:spPr>
          <a:xfrm>
            <a:off x="6359209" y="1177891"/>
            <a:ext cx="5628870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OLORS AND EFFECTS</a:t>
            </a:r>
          </a:p>
        </p:txBody>
      </p:sp>
      <p:sp>
        <p:nvSpPr>
          <p:cNvPr id="17" name="TextBox 16"/>
          <p:cNvSpPr txBox="1"/>
          <p:nvPr userDrawn="1"/>
        </p:nvSpPr>
        <p:spPr>
          <a:xfrm>
            <a:off x="576969" y="1178254"/>
            <a:ext cx="2987868" cy="26546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HOW TO...</a:t>
            </a:r>
          </a:p>
        </p:txBody>
      </p:sp>
      <p:sp>
        <p:nvSpPr>
          <p:cNvPr id="19" name="TextBox 18"/>
          <p:cNvSpPr txBox="1"/>
          <p:nvPr userDrawn="1"/>
        </p:nvSpPr>
        <p:spPr>
          <a:xfrm>
            <a:off x="6486246" y="3549534"/>
            <a:ext cx="21648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HARTS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27" name="Group 26"/>
          <p:cNvGrpSpPr/>
          <p:nvPr userDrawn="1"/>
        </p:nvGrpSpPr>
        <p:grpSpPr>
          <a:xfrm>
            <a:off x="6443768" y="2745123"/>
            <a:ext cx="1255646" cy="190805"/>
            <a:chOff x="2834640" y="3855720"/>
            <a:chExt cx="708660" cy="228600"/>
          </a:xfrm>
        </p:grpSpPr>
        <p:cxnSp>
          <p:nvCxnSpPr>
            <p:cNvPr id="28" name="Straight Connector 27"/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9" name="Straight Connector 28"/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6" name="TextBox 35"/>
          <p:cNvSpPr txBox="1"/>
          <p:nvPr userDrawn="1"/>
        </p:nvSpPr>
        <p:spPr>
          <a:xfrm>
            <a:off x="3678523" y="1177891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TEXT</a:t>
            </a:r>
          </a:p>
        </p:txBody>
      </p:sp>
      <p:sp>
        <p:nvSpPr>
          <p:cNvPr id="37" name="TextBox 36"/>
          <p:cNvSpPr txBox="1"/>
          <p:nvPr userDrawn="1"/>
        </p:nvSpPr>
        <p:spPr>
          <a:xfrm>
            <a:off x="3802777" y="1599603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FONT</a:t>
            </a:r>
          </a:p>
        </p:txBody>
      </p:sp>
      <p:sp>
        <p:nvSpPr>
          <p:cNvPr id="38" name="TextBox 37"/>
          <p:cNvSpPr txBox="1"/>
          <p:nvPr userDrawn="1"/>
        </p:nvSpPr>
        <p:spPr>
          <a:xfrm>
            <a:off x="3802541" y="1760575"/>
            <a:ext cx="2270378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Roboto is used for all text</a:t>
            </a:r>
          </a:p>
        </p:txBody>
      </p:sp>
      <p:sp>
        <p:nvSpPr>
          <p:cNvPr id="39" name="TextBox 38"/>
          <p:cNvSpPr txBox="1"/>
          <p:nvPr userDrawn="1"/>
        </p:nvSpPr>
        <p:spPr>
          <a:xfrm>
            <a:off x="3802541" y="2073987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STYLE AND SIZES</a:t>
            </a:r>
          </a:p>
        </p:txBody>
      </p:sp>
      <p:sp>
        <p:nvSpPr>
          <p:cNvPr id="40" name="TextBox 39"/>
          <p:cNvSpPr txBox="1"/>
          <p:nvPr userDrawn="1"/>
        </p:nvSpPr>
        <p:spPr>
          <a:xfrm>
            <a:off x="3802541" y="2250050"/>
            <a:ext cx="1922209" cy="47192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Headline: Roboto Bold, size 34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Sub-headline: Roboto Light, size 20</a:t>
            </a:r>
          </a:p>
          <a:p>
            <a:pPr defTabSz="914400">
              <a:spcAft>
                <a:spcPts val="400"/>
              </a:spcAft>
            </a:pPr>
            <a:r>
              <a:rPr lang="en-US" sz="800">
                <a:solidFill>
                  <a:srgbClr val="000000"/>
                </a:solidFill>
                <a:cs typeface="Arial" pitchFamily="34" charset="0"/>
              </a:rPr>
              <a:t>Body text: Roboto Light, size 14</a:t>
            </a:r>
          </a:p>
        </p:txBody>
      </p:sp>
      <p:sp>
        <p:nvSpPr>
          <p:cNvPr id="44" name="TextBox 43"/>
          <p:cNvSpPr txBox="1"/>
          <p:nvPr userDrawn="1"/>
        </p:nvSpPr>
        <p:spPr>
          <a:xfrm>
            <a:off x="2062808" y="3216109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DISPLAY GUIDES </a:t>
            </a:r>
          </a:p>
        </p:txBody>
      </p:sp>
      <p:sp>
        <p:nvSpPr>
          <p:cNvPr id="45" name="TextBox 44"/>
          <p:cNvSpPr txBox="1"/>
          <p:nvPr userDrawn="1"/>
        </p:nvSpPr>
        <p:spPr>
          <a:xfrm>
            <a:off x="2062810" y="3445206"/>
            <a:ext cx="130243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Display guides on the screen to view the content area. All content should be inside the red guides.</a:t>
            </a:r>
          </a:p>
        </p:txBody>
      </p:sp>
      <p:sp>
        <p:nvSpPr>
          <p:cNvPr id="46" name="TextBox 45"/>
          <p:cNvSpPr txBox="1"/>
          <p:nvPr userDrawn="1"/>
        </p:nvSpPr>
        <p:spPr>
          <a:xfrm>
            <a:off x="2062809" y="3997816"/>
            <a:ext cx="1285966" cy="12311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defTabSz="914400"/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</a:rPr>
              <a:t>View </a:t>
            </a:r>
            <a:r>
              <a:rPr lang="en-US" sz="800" b="0">
                <a:solidFill>
                  <a:schemeClr val="tx1"/>
                </a:solidFill>
                <a:latin typeface="+mj-lt"/>
                <a:cs typeface="Arial" pitchFamily="34" charset="0"/>
                <a:sym typeface="Wingdings 3"/>
              </a:rPr>
              <a:t> Guides</a:t>
            </a:r>
            <a:endParaRPr lang="en-US" sz="800" b="0">
              <a:solidFill>
                <a:schemeClr val="tx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7" name="TextBox 46"/>
          <p:cNvSpPr txBox="1"/>
          <p:nvPr userDrawn="1"/>
        </p:nvSpPr>
        <p:spPr>
          <a:xfrm>
            <a:off x="8258296" y="1599603"/>
            <a:ext cx="1488000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PRIMARY COLORS</a:t>
            </a:r>
          </a:p>
        </p:txBody>
      </p:sp>
      <p:sp>
        <p:nvSpPr>
          <p:cNvPr id="48" name="TextBox 47"/>
          <p:cNvSpPr txBox="1"/>
          <p:nvPr userDrawn="1"/>
        </p:nvSpPr>
        <p:spPr>
          <a:xfrm>
            <a:off x="9849330" y="1602000"/>
            <a:ext cx="1584000" cy="24622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 b="0">
                <a:solidFill>
                  <a:srgbClr val="000000"/>
                </a:solidFill>
                <a:latin typeface="+mj-lt"/>
                <a:cs typeface="Arial" pitchFamily="34" charset="0"/>
              </a:rPr>
              <a:t>SECONDARY COLORS FOR CHARTS &amp; DIAGRAMS</a:t>
            </a:r>
          </a:p>
        </p:txBody>
      </p:sp>
      <p:sp>
        <p:nvSpPr>
          <p:cNvPr id="50" name="TextBox 49"/>
          <p:cNvSpPr txBox="1"/>
          <p:nvPr/>
        </p:nvSpPr>
        <p:spPr>
          <a:xfrm>
            <a:off x="8582916" y="1826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</a:t>
            </a:r>
          </a:p>
        </p:txBody>
      </p:sp>
      <p:sp>
        <p:nvSpPr>
          <p:cNvPr id="51" name="Rektangel 11"/>
          <p:cNvSpPr>
            <a:spLocks noChangeAspect="1"/>
          </p:cNvSpPr>
          <p:nvPr/>
        </p:nvSpPr>
        <p:spPr bwMode="auto">
          <a:xfrm>
            <a:off x="9849332" y="1921624"/>
            <a:ext cx="244800" cy="183600"/>
          </a:xfrm>
          <a:prstGeom prst="rect">
            <a:avLst/>
          </a:prstGeom>
          <a:solidFill>
            <a:schemeClr val="accent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2" name="TextBox 51"/>
          <p:cNvSpPr txBox="1"/>
          <p:nvPr/>
        </p:nvSpPr>
        <p:spPr>
          <a:xfrm>
            <a:off x="10168721" y="1951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1: Grey/Blue</a:t>
            </a:r>
          </a:p>
        </p:txBody>
      </p:sp>
      <p:sp>
        <p:nvSpPr>
          <p:cNvPr id="53" name="Rektangel 18"/>
          <p:cNvSpPr/>
          <p:nvPr/>
        </p:nvSpPr>
        <p:spPr bwMode="auto">
          <a:xfrm>
            <a:off x="8258297" y="1796117"/>
            <a:ext cx="244800" cy="183600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5" name="TextBox 54"/>
          <p:cNvSpPr txBox="1"/>
          <p:nvPr/>
        </p:nvSpPr>
        <p:spPr>
          <a:xfrm>
            <a:off x="8582916" y="2063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Blue</a:t>
            </a:r>
          </a:p>
        </p:txBody>
      </p:sp>
      <p:sp>
        <p:nvSpPr>
          <p:cNvPr id="56" name="Rektangel 7"/>
          <p:cNvSpPr>
            <a:spLocks noChangeAspect="1"/>
          </p:cNvSpPr>
          <p:nvPr/>
        </p:nvSpPr>
        <p:spPr bwMode="auto">
          <a:xfrm>
            <a:off x="9849332" y="2158624"/>
            <a:ext cx="244800" cy="183600"/>
          </a:xfrm>
          <a:prstGeom prst="rect">
            <a:avLst/>
          </a:prstGeom>
          <a:solidFill>
            <a:schemeClr val="accent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57" name="TextBox 56"/>
          <p:cNvSpPr txBox="1"/>
          <p:nvPr/>
        </p:nvSpPr>
        <p:spPr>
          <a:xfrm>
            <a:off x="10168721" y="2188870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2: Dark blue</a:t>
            </a:r>
          </a:p>
        </p:txBody>
      </p:sp>
      <p:sp>
        <p:nvSpPr>
          <p:cNvPr id="58" name="Rektangel 18"/>
          <p:cNvSpPr/>
          <p:nvPr/>
        </p:nvSpPr>
        <p:spPr bwMode="auto">
          <a:xfrm>
            <a:off x="8258297" y="2033117"/>
            <a:ext cx="244800" cy="183600"/>
          </a:xfrm>
          <a:prstGeom prst="rect">
            <a:avLst/>
          </a:prstGeom>
          <a:solidFill>
            <a:schemeClr val="accent3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63" name="Rektangel 18"/>
          <p:cNvSpPr/>
          <p:nvPr/>
        </p:nvSpPr>
        <p:spPr bwMode="auto">
          <a:xfrm>
            <a:off x="3802541" y="3117398"/>
            <a:ext cx="325435" cy="264226"/>
          </a:xfrm>
          <a:prstGeom prst="rect">
            <a:avLst/>
          </a:prstGeom>
          <a:solidFill>
            <a:schemeClr val="tx1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64" name="TextBox 63"/>
          <p:cNvSpPr txBox="1"/>
          <p:nvPr/>
        </p:nvSpPr>
        <p:spPr>
          <a:xfrm>
            <a:off x="4235215" y="3145852"/>
            <a:ext cx="1454281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Dark is the default color for headlines and body text. </a:t>
            </a:r>
          </a:p>
        </p:txBody>
      </p:sp>
      <p:grpSp>
        <p:nvGrpSpPr>
          <p:cNvPr id="118" name="Group 117">
            <a:extLst>
              <a:ext uri="{FF2B5EF4-FFF2-40B4-BE49-F238E27FC236}">
                <a16:creationId xmlns:a16="http://schemas.microsoft.com/office/drawing/2014/main" id="{5E6F26DC-ED06-4AE5-BB8F-0CC90D2A969E}"/>
              </a:ext>
            </a:extLst>
          </p:cNvPr>
          <p:cNvGrpSpPr/>
          <p:nvPr userDrawn="1"/>
        </p:nvGrpSpPr>
        <p:grpSpPr>
          <a:xfrm>
            <a:off x="3796272" y="3597708"/>
            <a:ext cx="584370" cy="366154"/>
            <a:chOff x="3776319" y="3799737"/>
            <a:chExt cx="642807" cy="402769"/>
          </a:xfrm>
        </p:grpSpPr>
        <p:sp>
          <p:nvSpPr>
            <p:cNvPr id="68" name="Rektangel 22"/>
            <p:cNvSpPr/>
            <p:nvPr/>
          </p:nvSpPr>
          <p:spPr bwMode="auto">
            <a:xfrm>
              <a:off x="3776319" y="3799737"/>
              <a:ext cx="342913" cy="257185"/>
            </a:xfrm>
            <a:prstGeom prst="rect">
              <a:avLst/>
            </a:prstGeom>
            <a:solidFill>
              <a:schemeClr val="accent3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69" name="Rektangel 11"/>
            <p:cNvSpPr>
              <a:spLocks noChangeAspect="1"/>
            </p:cNvSpPr>
            <p:nvPr/>
          </p:nvSpPr>
          <p:spPr bwMode="auto">
            <a:xfrm>
              <a:off x="3876284" y="3848265"/>
              <a:ext cx="342913" cy="257185"/>
            </a:xfrm>
            <a:prstGeom prst="rect">
              <a:avLst/>
            </a:prstGeom>
            <a:solidFill>
              <a:schemeClr val="bg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0" name="Rektangel 7"/>
            <p:cNvSpPr>
              <a:spLocks noChangeAspect="1"/>
            </p:cNvSpPr>
            <p:nvPr/>
          </p:nvSpPr>
          <p:spPr bwMode="auto">
            <a:xfrm>
              <a:off x="3976249" y="3896792"/>
              <a:ext cx="342913" cy="257185"/>
            </a:xfrm>
            <a:prstGeom prst="rect">
              <a:avLst/>
            </a:prstGeom>
            <a:solidFill>
              <a:schemeClr val="tx2"/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  <p:sp>
          <p:nvSpPr>
            <p:cNvPr id="71" name="Rektangel 9"/>
            <p:cNvSpPr>
              <a:spLocks noChangeAspect="1"/>
            </p:cNvSpPr>
            <p:nvPr/>
          </p:nvSpPr>
          <p:spPr bwMode="auto">
            <a:xfrm>
              <a:off x="4076213" y="3945321"/>
              <a:ext cx="342913" cy="257185"/>
            </a:xfrm>
            <a:prstGeom prst="rect">
              <a:avLst/>
            </a:prstGeom>
            <a:solidFill>
              <a:schemeClr val="bg1"/>
            </a:solidFill>
            <a:ln w="3175" cap="flat" cmpd="sng" algn="ctr">
              <a:solidFill>
                <a:schemeClr val="bg2"/>
              </a:solidFill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horz" wrap="square" lIns="54000" tIns="45720" rIns="54000" bIns="45720" numCol="1" rtlCol="0" anchor="ctr" anchorCtr="0" compatLnSpc="1">
              <a:prstTxWarp prst="textNoShape">
                <a:avLst/>
              </a:prstTxWarp>
            </a:bodyPr>
            <a:lstStyle/>
            <a:p>
              <a:pPr algn="ctr" defTabSz="914400" fontAlgn="base">
                <a:spcBef>
                  <a:spcPct val="0"/>
                </a:spcBef>
                <a:spcAft>
                  <a:spcPct val="0"/>
                </a:spcAft>
              </a:pPr>
              <a:endParaRPr lang="en-US" sz="1600">
                <a:solidFill>
                  <a:srgbClr val="000000"/>
                </a:solidFill>
              </a:endParaRPr>
            </a:p>
          </p:txBody>
        </p:sp>
      </p:grpSp>
      <p:sp>
        <p:nvSpPr>
          <p:cNvPr id="72" name="TextBox 71"/>
          <p:cNvSpPr txBox="1"/>
          <p:nvPr userDrawn="1"/>
        </p:nvSpPr>
        <p:spPr>
          <a:xfrm>
            <a:off x="4539038" y="3521694"/>
            <a:ext cx="1426550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Feel free to change the body text color to white or one of the other primary colors in order to create emphasis, highlight or better contrast between text and background.</a:t>
            </a:r>
          </a:p>
        </p:txBody>
      </p:sp>
      <p:sp>
        <p:nvSpPr>
          <p:cNvPr id="73" name="Rektangel 22"/>
          <p:cNvSpPr/>
          <p:nvPr userDrawn="1"/>
        </p:nvSpPr>
        <p:spPr bwMode="auto">
          <a:xfrm>
            <a:off x="8258296" y="2270116"/>
            <a:ext cx="244800" cy="183600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4" name="TextBox 73"/>
          <p:cNvSpPr txBox="1"/>
          <p:nvPr userDrawn="1"/>
        </p:nvSpPr>
        <p:spPr>
          <a:xfrm>
            <a:off x="8582915" y="230036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1</a:t>
            </a:r>
          </a:p>
        </p:txBody>
      </p:sp>
      <p:sp>
        <p:nvSpPr>
          <p:cNvPr id="75" name="Rektangel 9"/>
          <p:cNvSpPr>
            <a:spLocks noChangeAspect="1"/>
          </p:cNvSpPr>
          <p:nvPr userDrawn="1"/>
        </p:nvSpPr>
        <p:spPr bwMode="auto">
          <a:xfrm>
            <a:off x="9849330" y="2395623"/>
            <a:ext cx="244800" cy="183600"/>
          </a:xfrm>
          <a:prstGeom prst="rect">
            <a:avLst/>
          </a:prstGeom>
          <a:solidFill>
            <a:schemeClr val="accent4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76" name="TextBox 75"/>
          <p:cNvSpPr txBox="1"/>
          <p:nvPr userDrawn="1"/>
        </p:nvSpPr>
        <p:spPr>
          <a:xfrm>
            <a:off x="10168720" y="2425871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4: Ocean blue</a:t>
            </a:r>
          </a:p>
        </p:txBody>
      </p:sp>
      <p:sp>
        <p:nvSpPr>
          <p:cNvPr id="81" name="Content Placeholder 5"/>
          <p:cNvSpPr txBox="1">
            <a:spLocks/>
          </p:cNvSpPr>
          <p:nvPr userDrawn="1"/>
        </p:nvSpPr>
        <p:spPr>
          <a:xfrm>
            <a:off x="6474281" y="3081964"/>
            <a:ext cx="1436029" cy="1231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800">
                <a:solidFill>
                  <a:schemeClr val="tx1"/>
                </a:solidFill>
              </a:rPr>
              <a:t>Never use the Standard Colors</a:t>
            </a:r>
          </a:p>
        </p:txBody>
      </p:sp>
      <p:cxnSp>
        <p:nvCxnSpPr>
          <p:cNvPr id="82" name="Straight Connector 81"/>
          <p:cNvCxnSpPr>
            <a:cxnSpLocks/>
          </p:cNvCxnSpPr>
          <p:nvPr userDrawn="1"/>
        </p:nvCxnSpPr>
        <p:spPr>
          <a:xfrm>
            <a:off x="6474281" y="3361226"/>
            <a:ext cx="4959049" cy="0"/>
          </a:xfrm>
          <a:prstGeom prst="line">
            <a:avLst/>
          </a:prstGeom>
          <a:ln>
            <a:solidFill>
              <a:schemeClr val="bg2">
                <a:lumMod val="60000"/>
                <a:lumOff val="4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6" name="Title 1"/>
          <p:cNvSpPr txBox="1">
            <a:spLocks/>
          </p:cNvSpPr>
          <p:nvPr userDrawn="1"/>
        </p:nvSpPr>
        <p:spPr>
          <a:xfrm>
            <a:off x="558868" y="885750"/>
            <a:ext cx="11171767" cy="68991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endParaRPr lang="en-US" sz="2800" b="1" kern="1200">
              <a:solidFill>
                <a:schemeClr val="tx1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3" name="Date Placeholder 8">
            <a:extLst>
              <a:ext uri="{FF2B5EF4-FFF2-40B4-BE49-F238E27FC236}">
                <a16:creationId xmlns:a16="http://schemas.microsoft.com/office/drawing/2014/main" id="{FE12C273-601D-40AF-BD56-6F1846451924}"/>
              </a:ext>
            </a:extLst>
          </p:cNvPr>
          <p:cNvSpPr>
            <a:spLocks noGrp="1"/>
          </p:cNvSpPr>
          <p:nvPr userDrawn="1">
            <p:ph type="dt" sz="half" idx="19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A0ABC626-455B-41B0-A0E7-A5E156590607}" type="datetime1">
              <a:rPr lang="en-US" smtClean="0"/>
              <a:pPr/>
              <a:t>5/20/2025</a:t>
            </a:fld>
            <a:endParaRPr lang="en-US"/>
          </a:p>
        </p:txBody>
      </p:sp>
      <p:sp>
        <p:nvSpPr>
          <p:cNvPr id="84" name="Footer Placeholder 12">
            <a:extLst>
              <a:ext uri="{FF2B5EF4-FFF2-40B4-BE49-F238E27FC236}">
                <a16:creationId xmlns:a16="http://schemas.microsoft.com/office/drawing/2014/main" id="{5E3596F1-2045-40CC-A80E-499FCE019B3A}"/>
              </a:ext>
            </a:extLst>
          </p:cNvPr>
          <p:cNvSpPr>
            <a:spLocks noGrp="1"/>
          </p:cNvSpPr>
          <p:nvPr userDrawn="1">
            <p:ph type="ftr" sz="quarter" idx="20"/>
          </p:nvPr>
        </p:nvSpPr>
        <p:spPr>
          <a:xfrm>
            <a:off x="920896" y="6529068"/>
            <a:ext cx="2087655" cy="153888"/>
          </a:xfrm>
        </p:spPr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85" name="Slide Number Placeholder 13">
            <a:extLst>
              <a:ext uri="{FF2B5EF4-FFF2-40B4-BE49-F238E27FC236}">
                <a16:creationId xmlns:a16="http://schemas.microsoft.com/office/drawing/2014/main" id="{6A79043F-E70A-4446-8650-0C2A2B7B0881}"/>
              </a:ext>
            </a:extLst>
          </p:cNvPr>
          <p:cNvSpPr>
            <a:spLocks noGrp="1"/>
          </p:cNvSpPr>
          <p:nvPr userDrawn="1">
            <p:ph type="sldNum" sz="quarter" idx="21"/>
          </p:nvPr>
        </p:nvSpPr>
        <p:spPr>
          <a:xfrm>
            <a:off x="479426" y="6529068"/>
            <a:ext cx="270170" cy="153888"/>
          </a:xfrm>
        </p:spPr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87" name="Rektangel 22">
            <a:extLst>
              <a:ext uri="{FF2B5EF4-FFF2-40B4-BE49-F238E27FC236}">
                <a16:creationId xmlns:a16="http://schemas.microsoft.com/office/drawing/2014/main" id="{94B553FC-3AAD-430C-8BBF-3DF9335D0629}"/>
              </a:ext>
            </a:extLst>
          </p:cNvPr>
          <p:cNvSpPr/>
          <p:nvPr userDrawn="1"/>
        </p:nvSpPr>
        <p:spPr bwMode="auto">
          <a:xfrm>
            <a:off x="8258296" y="2511626"/>
            <a:ext cx="244800" cy="183600"/>
          </a:xfrm>
          <a:prstGeom prst="rect">
            <a:avLst/>
          </a:prstGeom>
          <a:solidFill>
            <a:schemeClr val="tx2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0" name="TextBox 89">
            <a:extLst>
              <a:ext uri="{FF2B5EF4-FFF2-40B4-BE49-F238E27FC236}">
                <a16:creationId xmlns:a16="http://schemas.microsoft.com/office/drawing/2014/main" id="{52ECF2D3-E70D-444B-A194-20FBB4EF8314}"/>
              </a:ext>
            </a:extLst>
          </p:cNvPr>
          <p:cNvSpPr txBox="1"/>
          <p:nvPr userDrawn="1"/>
        </p:nvSpPr>
        <p:spPr>
          <a:xfrm>
            <a:off x="8582915" y="2541873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Nilfisk Accent 2</a:t>
            </a:r>
          </a:p>
        </p:txBody>
      </p:sp>
      <p:sp>
        <p:nvSpPr>
          <p:cNvPr id="92" name="Rektangel 9">
            <a:extLst>
              <a:ext uri="{FF2B5EF4-FFF2-40B4-BE49-F238E27FC236}">
                <a16:creationId xmlns:a16="http://schemas.microsoft.com/office/drawing/2014/main" id="{C6A9245E-199C-439D-8F58-D6A26180CCF2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629249"/>
            <a:ext cx="244800" cy="183600"/>
          </a:xfrm>
          <a:prstGeom prst="rect">
            <a:avLst/>
          </a:prstGeom>
          <a:solidFill>
            <a:schemeClr val="accent5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3" name="TextBox 92">
            <a:extLst>
              <a:ext uri="{FF2B5EF4-FFF2-40B4-BE49-F238E27FC236}">
                <a16:creationId xmlns:a16="http://schemas.microsoft.com/office/drawing/2014/main" id="{A25B0928-DFF1-4B6F-8C9F-7FE6579D5FCC}"/>
              </a:ext>
            </a:extLst>
          </p:cNvPr>
          <p:cNvSpPr txBox="1"/>
          <p:nvPr userDrawn="1"/>
        </p:nvSpPr>
        <p:spPr>
          <a:xfrm>
            <a:off x="10168720" y="2659497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5: Green</a:t>
            </a:r>
          </a:p>
        </p:txBody>
      </p:sp>
      <p:sp>
        <p:nvSpPr>
          <p:cNvPr id="94" name="Rektangel 9">
            <a:extLst>
              <a:ext uri="{FF2B5EF4-FFF2-40B4-BE49-F238E27FC236}">
                <a16:creationId xmlns:a16="http://schemas.microsoft.com/office/drawing/2014/main" id="{37D8958A-387C-45BD-83D0-DBC3BB0017DA}"/>
              </a:ext>
            </a:extLst>
          </p:cNvPr>
          <p:cNvSpPr>
            <a:spLocks noChangeAspect="1"/>
          </p:cNvSpPr>
          <p:nvPr userDrawn="1"/>
        </p:nvSpPr>
        <p:spPr bwMode="auto">
          <a:xfrm>
            <a:off x="9849330" y="2853321"/>
            <a:ext cx="244800" cy="183600"/>
          </a:xfrm>
          <a:prstGeom prst="rect">
            <a:avLst/>
          </a:prstGeom>
          <a:solidFill>
            <a:schemeClr val="accent6"/>
          </a:solidFill>
          <a:ln w="635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square" lIns="54000" tIns="45720" rIns="54000" bIns="45720" numCol="1" rtlCol="0" anchor="ctr" anchorCtr="0" compatLnSpc="1">
            <a:prstTxWarp prst="textNoShape">
              <a:avLst/>
            </a:prstTxWarp>
          </a:bodyPr>
          <a:lstStyle/>
          <a:p>
            <a:pPr algn="ctr" defTabSz="914400" fontAlgn="base">
              <a:spcBef>
                <a:spcPct val="0"/>
              </a:spcBef>
              <a:spcAft>
                <a:spcPct val="0"/>
              </a:spcAft>
            </a:pPr>
            <a:endParaRPr lang="en-US" sz="1600">
              <a:solidFill>
                <a:srgbClr val="000000"/>
              </a:solidFill>
            </a:endParaRPr>
          </a:p>
        </p:txBody>
      </p:sp>
      <p:sp>
        <p:nvSpPr>
          <p:cNvPr id="95" name="TextBox 94">
            <a:extLst>
              <a:ext uri="{FF2B5EF4-FFF2-40B4-BE49-F238E27FC236}">
                <a16:creationId xmlns:a16="http://schemas.microsoft.com/office/drawing/2014/main" id="{F2D3E017-96F6-423B-9145-008DB23FF524}"/>
              </a:ext>
            </a:extLst>
          </p:cNvPr>
          <p:cNvSpPr txBox="1"/>
          <p:nvPr userDrawn="1"/>
        </p:nvSpPr>
        <p:spPr>
          <a:xfrm>
            <a:off x="10168720" y="2883569"/>
            <a:ext cx="1392000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ccent 6: Red Alert</a:t>
            </a:r>
          </a:p>
        </p:txBody>
      </p:sp>
      <p:pic>
        <p:nvPicPr>
          <p:cNvPr id="102" name="Picture 101">
            <a:extLst>
              <a:ext uri="{FF2B5EF4-FFF2-40B4-BE49-F238E27FC236}">
                <a16:creationId xmlns:a16="http://schemas.microsoft.com/office/drawing/2014/main" id="{1ABD7990-89CC-49DB-AA0A-0AC2D5EF7268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86246" y="3852045"/>
            <a:ext cx="1815300" cy="1222363"/>
          </a:xfrm>
          <a:prstGeom prst="rect">
            <a:avLst/>
          </a:prstGeom>
        </p:spPr>
      </p:pic>
      <p:pic>
        <p:nvPicPr>
          <p:cNvPr id="103" name="Picture 102">
            <a:extLst>
              <a:ext uri="{FF2B5EF4-FFF2-40B4-BE49-F238E27FC236}">
                <a16:creationId xmlns:a16="http://schemas.microsoft.com/office/drawing/2014/main" id="{6546A0DA-94D1-4668-A757-FF579938F67C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03096" y="3878959"/>
            <a:ext cx="1797056" cy="1215521"/>
          </a:xfrm>
          <a:prstGeom prst="rect">
            <a:avLst/>
          </a:prstGeom>
        </p:spPr>
      </p:pic>
      <p:sp>
        <p:nvSpPr>
          <p:cNvPr id="18" name="TextBox 17"/>
          <p:cNvSpPr txBox="1"/>
          <p:nvPr userDrawn="1"/>
        </p:nvSpPr>
        <p:spPr>
          <a:xfrm>
            <a:off x="6463409" y="5337962"/>
            <a:ext cx="268059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MARTART </a:t>
            </a:r>
            <a:r>
              <a:rPr lang="en-US" sz="800">
                <a:solidFill>
                  <a:schemeClr val="tx1"/>
                </a:solidFill>
                <a:latin typeface="+mn-lt"/>
                <a:cs typeface="Arial" pitchFamily="34" charset="0"/>
              </a:rPr>
              <a:t>– DESIGN AND EFFECTS</a:t>
            </a:r>
          </a:p>
        </p:txBody>
      </p:sp>
      <p:grpSp>
        <p:nvGrpSpPr>
          <p:cNvPr id="105" name="Group 104">
            <a:extLst>
              <a:ext uri="{FF2B5EF4-FFF2-40B4-BE49-F238E27FC236}">
                <a16:creationId xmlns:a16="http://schemas.microsoft.com/office/drawing/2014/main" id="{03585E07-6B11-4B4F-AE56-460E3215EDE8}"/>
              </a:ext>
            </a:extLst>
          </p:cNvPr>
          <p:cNvGrpSpPr/>
          <p:nvPr userDrawn="1"/>
        </p:nvGrpSpPr>
        <p:grpSpPr>
          <a:xfrm>
            <a:off x="8513102" y="4099093"/>
            <a:ext cx="1730876" cy="944549"/>
            <a:chOff x="2834640" y="3855720"/>
            <a:chExt cx="708660" cy="228600"/>
          </a:xfrm>
        </p:grpSpPr>
        <p:cxnSp>
          <p:nvCxnSpPr>
            <p:cNvPr id="106" name="Straight Connector 105">
              <a:extLst>
                <a:ext uri="{FF2B5EF4-FFF2-40B4-BE49-F238E27FC236}">
                  <a16:creationId xmlns:a16="http://schemas.microsoft.com/office/drawing/2014/main" id="{9809A7F2-F48F-4F60-957B-2DB7F7B34D5A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7" name="Straight Connector 106">
              <a:extLst>
                <a:ext uri="{FF2B5EF4-FFF2-40B4-BE49-F238E27FC236}">
                  <a16:creationId xmlns:a16="http://schemas.microsoft.com/office/drawing/2014/main" id="{6614DE27-4BEA-4798-AF7D-67C66CD0469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09" name="Picture 108">
            <a:extLst>
              <a:ext uri="{FF2B5EF4-FFF2-40B4-BE49-F238E27FC236}">
                <a16:creationId xmlns:a16="http://schemas.microsoft.com/office/drawing/2014/main" id="{0B27BA4E-0BF4-4C02-940E-C2B8347325A4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6463409" y="5577357"/>
            <a:ext cx="4969921" cy="443263"/>
          </a:xfrm>
          <a:prstGeom prst="rect">
            <a:avLst/>
          </a:prstGeom>
        </p:spPr>
      </p:pic>
      <p:grpSp>
        <p:nvGrpSpPr>
          <p:cNvPr id="111" name="Group 110">
            <a:extLst>
              <a:ext uri="{FF2B5EF4-FFF2-40B4-BE49-F238E27FC236}">
                <a16:creationId xmlns:a16="http://schemas.microsoft.com/office/drawing/2014/main" id="{94A9BDE5-F054-4AD6-B204-D8056D976AEC}"/>
              </a:ext>
            </a:extLst>
          </p:cNvPr>
          <p:cNvGrpSpPr/>
          <p:nvPr userDrawn="1"/>
        </p:nvGrpSpPr>
        <p:grpSpPr>
          <a:xfrm>
            <a:off x="7019925" y="5670940"/>
            <a:ext cx="4375305" cy="217835"/>
            <a:chOff x="2834640" y="3855720"/>
            <a:chExt cx="708660" cy="228600"/>
          </a:xfrm>
        </p:grpSpPr>
        <p:cxnSp>
          <p:nvCxnSpPr>
            <p:cNvPr id="112" name="Straight Connector 111">
              <a:extLst>
                <a:ext uri="{FF2B5EF4-FFF2-40B4-BE49-F238E27FC236}">
                  <a16:creationId xmlns:a16="http://schemas.microsoft.com/office/drawing/2014/main" id="{F45128B7-C518-458F-B497-DBD7A8897B75}"/>
                </a:ext>
              </a:extLst>
            </p:cNvPr>
            <p:cNvCxnSpPr/>
            <p:nvPr/>
          </p:nvCxnSpPr>
          <p:spPr>
            <a:xfrm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3" name="Straight Connector 112">
              <a:extLst>
                <a:ext uri="{FF2B5EF4-FFF2-40B4-BE49-F238E27FC236}">
                  <a16:creationId xmlns:a16="http://schemas.microsoft.com/office/drawing/2014/main" id="{B1651C43-F09B-4205-ABB2-EAC554A231A2}"/>
                </a:ext>
              </a:extLst>
            </p:cNvPr>
            <p:cNvCxnSpPr/>
            <p:nvPr/>
          </p:nvCxnSpPr>
          <p:spPr>
            <a:xfrm flipH="1">
              <a:off x="2834640" y="3855720"/>
              <a:ext cx="708660" cy="228600"/>
            </a:xfrm>
            <a:prstGeom prst="line">
              <a:avLst/>
            </a:prstGeom>
            <a:ln w="19050">
              <a:solidFill>
                <a:schemeClr val="accent6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4" name="TextBox 113">
            <a:extLst>
              <a:ext uri="{FF2B5EF4-FFF2-40B4-BE49-F238E27FC236}">
                <a16:creationId xmlns:a16="http://schemas.microsoft.com/office/drawing/2014/main" id="{39575785-35B6-49AB-9E5B-A44383234BA4}"/>
              </a:ext>
            </a:extLst>
          </p:cNvPr>
          <p:cNvSpPr txBox="1"/>
          <p:nvPr userDrawn="1"/>
        </p:nvSpPr>
        <p:spPr>
          <a:xfrm>
            <a:off x="10495883" y="3991118"/>
            <a:ext cx="1064838" cy="738664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Keep charts and SmartArt simple and minimalistic. </a:t>
            </a:r>
            <a:br>
              <a:rPr lang="en-US" sz="800">
                <a:solidFill>
                  <a:schemeClr val="tx1"/>
                </a:solidFill>
                <a:cs typeface="Arial" pitchFamily="34" charset="0"/>
              </a:rPr>
            </a:br>
            <a:endParaRPr lang="en-US" sz="800">
              <a:solidFill>
                <a:schemeClr val="tx1"/>
              </a:solidFill>
              <a:cs typeface="Arial" pitchFamily="34" charset="0"/>
            </a:endParaRPr>
          </a:p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Avoid bevel, emboss and 3D effects.</a:t>
            </a:r>
          </a:p>
        </p:txBody>
      </p:sp>
      <p:sp>
        <p:nvSpPr>
          <p:cNvPr id="115" name="Rectangle 114">
            <a:extLst>
              <a:ext uri="{FF2B5EF4-FFF2-40B4-BE49-F238E27FC236}">
                <a16:creationId xmlns:a16="http://schemas.microsoft.com/office/drawing/2014/main" id="{2B4EC30E-B7CE-4A68-8E8B-D5254BC914CC}"/>
              </a:ext>
            </a:extLst>
          </p:cNvPr>
          <p:cNvSpPr/>
          <p:nvPr userDrawn="1"/>
        </p:nvSpPr>
        <p:spPr>
          <a:xfrm>
            <a:off x="479425" y="4611253"/>
            <a:ext cx="5628836" cy="1588341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000">
              <a:solidFill>
                <a:schemeClr val="tx1"/>
              </a:solidFill>
            </a:endParaRPr>
          </a:p>
        </p:txBody>
      </p:sp>
      <p:sp>
        <p:nvSpPr>
          <p:cNvPr id="116" name="TextBox 115">
            <a:extLst>
              <a:ext uri="{FF2B5EF4-FFF2-40B4-BE49-F238E27FC236}">
                <a16:creationId xmlns:a16="http://schemas.microsoft.com/office/drawing/2014/main" id="{FD99C6E9-148D-4428-B5D8-6AD43505DA41}"/>
              </a:ext>
            </a:extLst>
          </p:cNvPr>
          <p:cNvSpPr txBox="1"/>
          <p:nvPr userDrawn="1"/>
        </p:nvSpPr>
        <p:spPr>
          <a:xfrm>
            <a:off x="558868" y="4773728"/>
            <a:ext cx="2287064" cy="266400"/>
          </a:xfrm>
          <a:prstGeom prst="rect">
            <a:avLst/>
          </a:prstGeom>
          <a:noFill/>
        </p:spPr>
        <p:txBody>
          <a:bodyPr wrap="none" lIns="108000" tIns="36000" rIns="36000" bIns="36000" rtlCol="0" anchor="ctr">
            <a:noAutofit/>
          </a:bodyPr>
          <a:lstStyle/>
          <a:p>
            <a:pPr defTabSz="914400"/>
            <a:r>
              <a:rPr lang="en-US" sz="1100" spc="30" baseline="0">
                <a:solidFill>
                  <a:schemeClr val="tx1"/>
                </a:solidFill>
                <a:latin typeface="+mj-lt"/>
                <a:cs typeface="Arial" pitchFamily="34" charset="0"/>
              </a:rPr>
              <a:t>CALL OUTS</a:t>
            </a:r>
          </a:p>
        </p:txBody>
      </p:sp>
      <p:sp>
        <p:nvSpPr>
          <p:cNvPr id="117" name="TextBox 116">
            <a:extLst>
              <a:ext uri="{FF2B5EF4-FFF2-40B4-BE49-F238E27FC236}">
                <a16:creationId xmlns:a16="http://schemas.microsoft.com/office/drawing/2014/main" id="{C1335B58-8355-4223-9A0F-3FB094B7984A}"/>
              </a:ext>
            </a:extLst>
          </p:cNvPr>
          <p:cNvSpPr txBox="1"/>
          <p:nvPr userDrawn="1"/>
        </p:nvSpPr>
        <p:spPr>
          <a:xfrm>
            <a:off x="3802541" y="2920536"/>
            <a:ext cx="1924081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algn="l" defTabSz="914400" rtl="0" eaLnBrk="1" latinLnBrk="0" hangingPunct="1"/>
            <a:r>
              <a:rPr lang="en-US" sz="800" b="0" kern="1200">
                <a:solidFill>
                  <a:srgbClr val="000000"/>
                </a:solidFill>
                <a:latin typeface="+mj-lt"/>
                <a:ea typeface="+mn-ea"/>
                <a:cs typeface="Arial" pitchFamily="34" charset="0"/>
              </a:rPr>
              <a:t>TEXT COLOR</a:t>
            </a:r>
          </a:p>
        </p:txBody>
      </p:sp>
      <p:pic>
        <p:nvPicPr>
          <p:cNvPr id="120" name="Picture 119">
            <a:extLst>
              <a:ext uri="{FF2B5EF4-FFF2-40B4-BE49-F238E27FC236}">
                <a16:creationId xmlns:a16="http://schemas.microsoft.com/office/drawing/2014/main" id="{EA7DB651-0930-424D-8AAB-494794615B2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4112" y="1513060"/>
            <a:ext cx="1225191" cy="1407314"/>
          </a:xfrm>
          <a:prstGeom prst="rect">
            <a:avLst/>
          </a:prstGeom>
        </p:spPr>
      </p:pic>
      <p:sp>
        <p:nvSpPr>
          <p:cNvPr id="124" name="Oval 123">
            <a:extLst>
              <a:ext uri="{FF2B5EF4-FFF2-40B4-BE49-F238E27FC236}">
                <a16:creationId xmlns:a16="http://schemas.microsoft.com/office/drawing/2014/main" id="{F7AB58B9-3487-4503-98A3-261B6871E0AB}"/>
              </a:ext>
            </a:extLst>
          </p:cNvPr>
          <p:cNvSpPr/>
          <p:nvPr userDrawn="1"/>
        </p:nvSpPr>
        <p:spPr>
          <a:xfrm>
            <a:off x="3076416" y="4919253"/>
            <a:ext cx="951609" cy="951609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/>
            <a:r>
              <a:rPr lang="en-US" sz="1100">
                <a:solidFill>
                  <a:schemeClr val="bg1"/>
                </a:solidFill>
              </a:rPr>
              <a:t>Call-out text here</a:t>
            </a:r>
          </a:p>
        </p:txBody>
      </p:sp>
      <p:sp>
        <p:nvSpPr>
          <p:cNvPr id="127" name="Rectangle: Rounded Corners 126">
            <a:extLst>
              <a:ext uri="{FF2B5EF4-FFF2-40B4-BE49-F238E27FC236}">
                <a16:creationId xmlns:a16="http://schemas.microsoft.com/office/drawing/2014/main" id="{B6CD54A2-4412-4A84-AF5A-DACAD97CBE74}"/>
              </a:ext>
            </a:extLst>
          </p:cNvPr>
          <p:cNvSpPr/>
          <p:nvPr userDrawn="1"/>
        </p:nvSpPr>
        <p:spPr>
          <a:xfrm>
            <a:off x="4222590" y="5306886"/>
            <a:ext cx="1667164" cy="323268"/>
          </a:xfrm>
          <a:prstGeom prst="roundRect">
            <a:avLst>
              <a:gd name="adj" fmla="val 50000"/>
            </a:avLst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>
                <a:solidFill>
                  <a:schemeClr val="bg1"/>
                </a:solidFill>
              </a:rPr>
              <a:t>Call out text here</a:t>
            </a:r>
          </a:p>
        </p:txBody>
      </p:sp>
      <p:sp>
        <p:nvSpPr>
          <p:cNvPr id="128" name="TextBox 127">
            <a:extLst>
              <a:ext uri="{FF2B5EF4-FFF2-40B4-BE49-F238E27FC236}">
                <a16:creationId xmlns:a16="http://schemas.microsoft.com/office/drawing/2014/main" id="{5C803F96-D305-4337-A4A7-EF0BCC606DD0}"/>
              </a:ext>
            </a:extLst>
          </p:cNvPr>
          <p:cNvSpPr txBox="1"/>
          <p:nvPr userDrawn="1"/>
        </p:nvSpPr>
        <p:spPr>
          <a:xfrm>
            <a:off x="688006" y="5335884"/>
            <a:ext cx="2120985" cy="12311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Circles and race-track shapes are preferred</a:t>
            </a:r>
          </a:p>
        </p:txBody>
      </p:sp>
      <p:sp>
        <p:nvSpPr>
          <p:cNvPr id="129" name="TextBox 128">
            <a:extLst>
              <a:ext uri="{FF2B5EF4-FFF2-40B4-BE49-F238E27FC236}">
                <a16:creationId xmlns:a16="http://schemas.microsoft.com/office/drawing/2014/main" id="{26944829-53C6-4832-B927-4DF77768AF22}"/>
              </a:ext>
            </a:extLst>
          </p:cNvPr>
          <p:cNvSpPr txBox="1"/>
          <p:nvPr userDrawn="1"/>
        </p:nvSpPr>
        <p:spPr>
          <a:xfrm>
            <a:off x="686640" y="5170041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SHAPES</a:t>
            </a:r>
          </a:p>
        </p:txBody>
      </p:sp>
      <p:sp>
        <p:nvSpPr>
          <p:cNvPr id="130" name="TextBox 129">
            <a:extLst>
              <a:ext uri="{FF2B5EF4-FFF2-40B4-BE49-F238E27FC236}">
                <a16:creationId xmlns:a16="http://schemas.microsoft.com/office/drawing/2014/main" id="{501F335D-AC9C-4F79-BE6D-7BFEDF74FE27}"/>
              </a:ext>
            </a:extLst>
          </p:cNvPr>
          <p:cNvSpPr txBox="1"/>
          <p:nvPr userDrawn="1"/>
        </p:nvSpPr>
        <p:spPr>
          <a:xfrm>
            <a:off x="688007" y="5769347"/>
            <a:ext cx="2193844" cy="246221"/>
          </a:xfrm>
          <a:prstGeom prst="rect">
            <a:avLst/>
          </a:prstGeom>
          <a:noFill/>
        </p:spPr>
        <p:txBody>
          <a:bodyPr wrap="square" lIns="0" tIns="0" rIns="0" bIns="0" rtlCol="0" anchor="ctr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cs typeface="Arial" pitchFamily="34" charset="0"/>
              </a:rPr>
              <a:t>Use a bright color as Nilfisk Blue, if an alert call out is needed then use the Red Alert color</a:t>
            </a:r>
          </a:p>
        </p:txBody>
      </p:sp>
      <p:sp>
        <p:nvSpPr>
          <p:cNvPr id="131" name="TextBox 130">
            <a:extLst>
              <a:ext uri="{FF2B5EF4-FFF2-40B4-BE49-F238E27FC236}">
                <a16:creationId xmlns:a16="http://schemas.microsoft.com/office/drawing/2014/main" id="{9E6CBA77-60E5-4B50-BBFC-943B830A4FB8}"/>
              </a:ext>
            </a:extLst>
          </p:cNvPr>
          <p:cNvSpPr txBox="1"/>
          <p:nvPr userDrawn="1"/>
        </p:nvSpPr>
        <p:spPr>
          <a:xfrm>
            <a:off x="686640" y="5597590"/>
            <a:ext cx="1362524" cy="123111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defTabSz="914400"/>
            <a:r>
              <a:rPr lang="en-US" sz="800">
                <a:solidFill>
                  <a:schemeClr val="tx1"/>
                </a:solidFill>
                <a:latin typeface="+mj-lt"/>
                <a:cs typeface="Arial" pitchFamily="34" charset="0"/>
              </a:rPr>
              <a:t>COLORS</a:t>
            </a:r>
          </a:p>
        </p:txBody>
      </p:sp>
      <p:pic>
        <p:nvPicPr>
          <p:cNvPr id="133" name="Picture 132">
            <a:extLst>
              <a:ext uri="{FF2B5EF4-FFF2-40B4-BE49-F238E27FC236}">
                <a16:creationId xmlns:a16="http://schemas.microsoft.com/office/drawing/2014/main" id="{DBC42F93-7A2E-45E5-BF9E-672AE70AF541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696"/>
          <a:stretch/>
        </p:blipFill>
        <p:spPr>
          <a:xfrm>
            <a:off x="686641" y="3203941"/>
            <a:ext cx="1205207" cy="951982"/>
          </a:xfrm>
          <a:prstGeom prst="rect">
            <a:avLst/>
          </a:prstGeom>
        </p:spPr>
      </p:pic>
      <p:sp>
        <p:nvSpPr>
          <p:cNvPr id="89" name="TextBox 88">
            <a:extLst>
              <a:ext uri="{FF2B5EF4-FFF2-40B4-BE49-F238E27FC236}">
                <a16:creationId xmlns:a16="http://schemas.microsoft.com/office/drawing/2014/main" id="{FB05DA62-B4C6-45AC-9BFB-A0E475FE9E84}"/>
              </a:ext>
            </a:extLst>
          </p:cNvPr>
          <p:cNvSpPr txBox="1"/>
          <p:nvPr userDrawn="1"/>
        </p:nvSpPr>
        <p:spPr>
          <a:xfrm>
            <a:off x="484566" y="420116"/>
            <a:ext cx="7304039" cy="523220"/>
          </a:xfrm>
          <a:prstGeom prst="rect">
            <a:avLst/>
          </a:prstGeom>
          <a:noFill/>
        </p:spPr>
        <p:txBody>
          <a:bodyPr wrap="square" lIns="0">
            <a:spAutoFit/>
          </a:bodyPr>
          <a:lstStyle/>
          <a:p>
            <a:r>
              <a:rPr lang="en-US" sz="2800" noProof="0">
                <a:latin typeface="+mj-lt"/>
              </a:rPr>
              <a:t>Nilfisk presentation guidelines and tips</a:t>
            </a:r>
            <a:endParaRPr lang="en-US" sz="280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34901634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1 /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0" name="Text Placeholder 6"/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1" name="Text Placeholder 6"/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2" name="Text Placeholder 6"/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3" name="Text Placeholder 6"/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4" name="Text Placeholder 6"/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471054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25" name="Text Placeholder 6"/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6" name="Text Placeholder 6"/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7" name="Text Placeholder 6"/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8" name="Text Placeholder 6"/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9" name="Text Placeholder 6"/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0" name="Text Placeholder 6"/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18" name="Picture Placeholder 3">
            <a:extLst>
              <a:ext uri="{FF2B5EF4-FFF2-40B4-BE49-F238E27FC236}">
                <a16:creationId xmlns:a16="http://schemas.microsoft.com/office/drawing/2014/main" id="{92633BA2-668C-4362-AF86-6885DEF6DFDD}"/>
              </a:ext>
            </a:extLst>
          </p:cNvPr>
          <p:cNvSpPr>
            <a:spLocks noGrp="1"/>
          </p:cNvSpPr>
          <p:nvPr>
            <p:ph type="pic" sz="quarter" idx="17" hasCustomPrompt="1"/>
          </p:nvPr>
        </p:nvSpPr>
        <p:spPr>
          <a:xfrm>
            <a:off x="6929718" y="0"/>
            <a:ext cx="5262281" cy="6273800"/>
          </a:xfrm>
        </p:spPr>
        <p:txBody>
          <a:bodyPr lIns="60458" tIns="60458" rIns="60458" bIns="61200" anchor="ctr" anchorCtr="0"/>
          <a:lstStyle>
            <a:lvl1pPr marL="0" indent="0" algn="ctr">
              <a:spcBef>
                <a:spcPts val="0"/>
              </a:spcBef>
              <a:buNone/>
              <a:defRPr baseline="0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2AB7C68E-A9DB-482D-8573-A1E734D89C45}"/>
              </a:ext>
            </a:extLst>
          </p:cNvPr>
          <p:cNvSpPr>
            <a:spLocks noGrp="1"/>
          </p:cNvSpPr>
          <p:nvPr>
            <p:ph type="dt" sz="half" idx="49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A0ABC626-455B-41B0-A0E7-A5E156590607}" type="datetime1">
              <a:rPr lang="en-US" smtClean="0"/>
              <a:pPr/>
              <a:t>5/20/2025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7A036050-6042-4828-AEF7-BEF88D457057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4B648AB8-957A-40F5-BE6A-A1A7B5839E37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24303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3 /  Li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1" name="Title 1">
            <a:extLst>
              <a:ext uri="{FF2B5EF4-FFF2-40B4-BE49-F238E27FC236}">
                <a16:creationId xmlns:a16="http://schemas.microsoft.com/office/drawing/2014/main" id="{5EC2438A-E891-4FFF-BA92-718E67D50BD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6199282" cy="451808"/>
          </a:xfrm>
        </p:spPr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32" name="Text Placeholder 6">
            <a:extLst>
              <a:ext uri="{FF2B5EF4-FFF2-40B4-BE49-F238E27FC236}">
                <a16:creationId xmlns:a16="http://schemas.microsoft.com/office/drawing/2014/main" id="{351349A8-F4AD-481C-B833-2018086AEB1D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968167" y="1381125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3" name="Text Placeholder 6">
            <a:extLst>
              <a:ext uri="{FF2B5EF4-FFF2-40B4-BE49-F238E27FC236}">
                <a16:creationId xmlns:a16="http://schemas.microsoft.com/office/drawing/2014/main" id="{BCB23696-A8EE-4D7D-9CF8-BFE08B462CA1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968167" y="2222844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4" name="Text Placeholder 6">
            <a:extLst>
              <a:ext uri="{FF2B5EF4-FFF2-40B4-BE49-F238E27FC236}">
                <a16:creationId xmlns:a16="http://schemas.microsoft.com/office/drawing/2014/main" id="{E3258258-BD87-4BF7-A9C9-7E4A20BC8D3D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968167" y="3064563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5" name="Text Placeholder 6">
            <a:extLst>
              <a:ext uri="{FF2B5EF4-FFF2-40B4-BE49-F238E27FC236}">
                <a16:creationId xmlns:a16="http://schemas.microsoft.com/office/drawing/2014/main" id="{F0CC60F9-E018-493B-A231-1CF8D7DF68AD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968167" y="3906282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6" name="Text Placeholder 6">
            <a:extLst>
              <a:ext uri="{FF2B5EF4-FFF2-40B4-BE49-F238E27FC236}">
                <a16:creationId xmlns:a16="http://schemas.microsoft.com/office/drawing/2014/main" id="{70697D3F-4B19-4E9B-B001-70DCCED5AAEE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968167" y="4748001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7" name="Text Placeholder 6">
            <a:extLst>
              <a:ext uri="{FF2B5EF4-FFF2-40B4-BE49-F238E27FC236}">
                <a16:creationId xmlns:a16="http://schemas.microsoft.com/office/drawing/2014/main" id="{87D41523-EEDC-4E02-B090-DC27D43D682D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968167" y="5589718"/>
            <a:ext cx="3961046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38" name="Text Placeholder 6">
            <a:extLst>
              <a:ext uri="{FF2B5EF4-FFF2-40B4-BE49-F238E27FC236}">
                <a16:creationId xmlns:a16="http://schemas.microsoft.com/office/drawing/2014/main" id="{8E766D98-EE19-481A-A53E-6807A968ABA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117600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39" name="Text Placeholder 6">
            <a:extLst>
              <a:ext uri="{FF2B5EF4-FFF2-40B4-BE49-F238E27FC236}">
                <a16:creationId xmlns:a16="http://schemas.microsoft.com/office/drawing/2014/main" id="{B2146F9C-B635-4DAF-B173-D1BB2897C7A2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117600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4F56AAD3-4EAB-4030-838D-7F5893CBAAFE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117600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1" name="Text Placeholder 6">
            <a:extLst>
              <a:ext uri="{FF2B5EF4-FFF2-40B4-BE49-F238E27FC236}">
                <a16:creationId xmlns:a16="http://schemas.microsoft.com/office/drawing/2014/main" id="{5C907538-E1C5-4754-89E9-C3EB0BA8E6DF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117600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2" name="Text Placeholder 6">
            <a:extLst>
              <a:ext uri="{FF2B5EF4-FFF2-40B4-BE49-F238E27FC236}">
                <a16:creationId xmlns:a16="http://schemas.microsoft.com/office/drawing/2014/main" id="{F15BB5B4-070C-45C6-8263-A39458E6957D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117600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3" name="Text Placeholder 6">
            <a:extLst>
              <a:ext uri="{FF2B5EF4-FFF2-40B4-BE49-F238E27FC236}">
                <a16:creationId xmlns:a16="http://schemas.microsoft.com/office/drawing/2014/main" id="{4794B6D5-516E-4598-95CB-8FACBE449A19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117600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44" name="Text Placeholder 6">
            <a:extLst>
              <a:ext uri="{FF2B5EF4-FFF2-40B4-BE49-F238E27FC236}">
                <a16:creationId xmlns:a16="http://schemas.microsoft.com/office/drawing/2014/main" id="{2375903A-F4B6-40A4-9007-A4446B00364B}"/>
              </a:ext>
            </a:extLst>
          </p:cNvPr>
          <p:cNvSpPr>
            <a:spLocks noGrp="1"/>
          </p:cNvSpPr>
          <p:nvPr>
            <p:ph type="body" sz="quarter" idx="49" hasCustomPrompt="1"/>
          </p:nvPr>
        </p:nvSpPr>
        <p:spPr>
          <a:xfrm>
            <a:off x="7113355" y="1381125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5" name="Text Placeholder 6">
            <a:extLst>
              <a:ext uri="{FF2B5EF4-FFF2-40B4-BE49-F238E27FC236}">
                <a16:creationId xmlns:a16="http://schemas.microsoft.com/office/drawing/2014/main" id="{2597909E-9336-428B-BD7D-97A3705EE7B6}"/>
              </a:ext>
            </a:extLst>
          </p:cNvPr>
          <p:cNvSpPr>
            <a:spLocks noGrp="1"/>
          </p:cNvSpPr>
          <p:nvPr>
            <p:ph type="body" sz="quarter" idx="50" hasCustomPrompt="1"/>
          </p:nvPr>
        </p:nvSpPr>
        <p:spPr>
          <a:xfrm>
            <a:off x="7113355" y="2222844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6" name="Text Placeholder 6">
            <a:extLst>
              <a:ext uri="{FF2B5EF4-FFF2-40B4-BE49-F238E27FC236}">
                <a16:creationId xmlns:a16="http://schemas.microsoft.com/office/drawing/2014/main" id="{17599A58-0AE1-48B2-8DB7-C4041E1E2284}"/>
              </a:ext>
            </a:extLst>
          </p:cNvPr>
          <p:cNvSpPr>
            <a:spLocks noGrp="1"/>
          </p:cNvSpPr>
          <p:nvPr>
            <p:ph type="body" sz="quarter" idx="51" hasCustomPrompt="1"/>
          </p:nvPr>
        </p:nvSpPr>
        <p:spPr>
          <a:xfrm>
            <a:off x="7113355" y="3064563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7" name="Text Placeholder 6">
            <a:extLst>
              <a:ext uri="{FF2B5EF4-FFF2-40B4-BE49-F238E27FC236}">
                <a16:creationId xmlns:a16="http://schemas.microsoft.com/office/drawing/2014/main" id="{75E0B5C7-0542-41B5-83BD-F4877256F024}"/>
              </a:ext>
            </a:extLst>
          </p:cNvPr>
          <p:cNvSpPr>
            <a:spLocks noGrp="1"/>
          </p:cNvSpPr>
          <p:nvPr>
            <p:ph type="body" sz="quarter" idx="52" hasCustomPrompt="1"/>
          </p:nvPr>
        </p:nvSpPr>
        <p:spPr>
          <a:xfrm>
            <a:off x="7113355" y="3906282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8" name="Text Placeholder 6">
            <a:extLst>
              <a:ext uri="{FF2B5EF4-FFF2-40B4-BE49-F238E27FC236}">
                <a16:creationId xmlns:a16="http://schemas.microsoft.com/office/drawing/2014/main" id="{13407488-E31A-4BD6-BA18-CEE59220234C}"/>
              </a:ext>
            </a:extLst>
          </p:cNvPr>
          <p:cNvSpPr>
            <a:spLocks noGrp="1"/>
          </p:cNvSpPr>
          <p:nvPr>
            <p:ph type="body" sz="quarter" idx="53" hasCustomPrompt="1"/>
          </p:nvPr>
        </p:nvSpPr>
        <p:spPr>
          <a:xfrm>
            <a:off x="7113355" y="4748001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49" name="Text Placeholder 6">
            <a:extLst>
              <a:ext uri="{FF2B5EF4-FFF2-40B4-BE49-F238E27FC236}">
                <a16:creationId xmlns:a16="http://schemas.microsoft.com/office/drawing/2014/main" id="{473C5B7A-5DE6-4EE7-A616-36152F429213}"/>
              </a:ext>
            </a:extLst>
          </p:cNvPr>
          <p:cNvSpPr>
            <a:spLocks noGrp="1"/>
          </p:cNvSpPr>
          <p:nvPr>
            <p:ph type="body" sz="quarter" idx="54" hasCustomPrompt="1"/>
          </p:nvPr>
        </p:nvSpPr>
        <p:spPr>
          <a:xfrm>
            <a:off x="7113355" y="5589718"/>
            <a:ext cx="4599220" cy="698238"/>
          </a:xfrm>
          <a:ln>
            <a:noFill/>
          </a:ln>
        </p:spPr>
        <p:txBody>
          <a:bodyPr lIns="72000" tIns="72000" rIns="72000" bIns="72000" anchor="ctr"/>
          <a:lstStyle>
            <a:lvl1pPr marL="0" indent="0">
              <a:buNone/>
              <a:defRPr/>
            </a:lvl1pPr>
          </a:lstStyle>
          <a:p>
            <a:pPr lvl="0"/>
            <a:r>
              <a:rPr lang="en-US" noProof="0"/>
              <a:t>Insert agenda topic here</a:t>
            </a:r>
          </a:p>
        </p:txBody>
      </p:sp>
      <p:sp>
        <p:nvSpPr>
          <p:cNvPr id="50" name="Text Placeholder 6">
            <a:extLst>
              <a:ext uri="{FF2B5EF4-FFF2-40B4-BE49-F238E27FC236}">
                <a16:creationId xmlns:a16="http://schemas.microsoft.com/office/drawing/2014/main" id="{D32C3EDB-5591-4579-9FE5-7193CC5A5C10}"/>
              </a:ext>
            </a:extLst>
          </p:cNvPr>
          <p:cNvSpPr>
            <a:spLocks noGrp="1"/>
          </p:cNvSpPr>
          <p:nvPr>
            <p:ph type="body" sz="quarter" idx="55" hasCustomPrompt="1"/>
          </p:nvPr>
        </p:nvSpPr>
        <p:spPr>
          <a:xfrm>
            <a:off x="6262788" y="13811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1" name="Text Placeholder 6">
            <a:extLst>
              <a:ext uri="{FF2B5EF4-FFF2-40B4-BE49-F238E27FC236}">
                <a16:creationId xmlns:a16="http://schemas.microsoft.com/office/drawing/2014/main" id="{57A219F9-4663-4810-9DB6-6EA406D3B6CE}"/>
              </a:ext>
            </a:extLst>
          </p:cNvPr>
          <p:cNvSpPr>
            <a:spLocks noGrp="1"/>
          </p:cNvSpPr>
          <p:nvPr>
            <p:ph type="body" sz="quarter" idx="56" hasCustomPrompt="1"/>
          </p:nvPr>
        </p:nvSpPr>
        <p:spPr>
          <a:xfrm>
            <a:off x="6262788" y="22228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2" name="Text Placeholder 6">
            <a:extLst>
              <a:ext uri="{FF2B5EF4-FFF2-40B4-BE49-F238E27FC236}">
                <a16:creationId xmlns:a16="http://schemas.microsoft.com/office/drawing/2014/main" id="{BDC7CE9C-FBC7-4161-BD88-75178F21B731}"/>
              </a:ext>
            </a:extLst>
          </p:cNvPr>
          <p:cNvSpPr>
            <a:spLocks noGrp="1"/>
          </p:cNvSpPr>
          <p:nvPr>
            <p:ph type="body" sz="quarter" idx="57" hasCustomPrompt="1"/>
          </p:nvPr>
        </p:nvSpPr>
        <p:spPr>
          <a:xfrm>
            <a:off x="6262788" y="30645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3" name="Text Placeholder 6">
            <a:extLst>
              <a:ext uri="{FF2B5EF4-FFF2-40B4-BE49-F238E27FC236}">
                <a16:creationId xmlns:a16="http://schemas.microsoft.com/office/drawing/2014/main" id="{11ACFE30-978D-4A7F-97D7-D7AC99268D5A}"/>
              </a:ext>
            </a:extLst>
          </p:cNvPr>
          <p:cNvSpPr>
            <a:spLocks noGrp="1"/>
          </p:cNvSpPr>
          <p:nvPr>
            <p:ph type="body" sz="quarter" idx="58" hasCustomPrompt="1"/>
          </p:nvPr>
        </p:nvSpPr>
        <p:spPr>
          <a:xfrm>
            <a:off x="6262788" y="3906282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4" name="Text Placeholder 6">
            <a:extLst>
              <a:ext uri="{FF2B5EF4-FFF2-40B4-BE49-F238E27FC236}">
                <a16:creationId xmlns:a16="http://schemas.microsoft.com/office/drawing/2014/main" id="{CCC62BDF-1677-4A73-8312-A8E0954470A0}"/>
              </a:ext>
            </a:extLst>
          </p:cNvPr>
          <p:cNvSpPr>
            <a:spLocks noGrp="1"/>
          </p:cNvSpPr>
          <p:nvPr>
            <p:ph type="body" sz="quarter" idx="59" hasCustomPrompt="1"/>
          </p:nvPr>
        </p:nvSpPr>
        <p:spPr>
          <a:xfrm>
            <a:off x="6262788" y="4748001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55" name="Text Placeholder 6">
            <a:extLst>
              <a:ext uri="{FF2B5EF4-FFF2-40B4-BE49-F238E27FC236}">
                <a16:creationId xmlns:a16="http://schemas.microsoft.com/office/drawing/2014/main" id="{9646ABFE-34F3-4E34-8A80-DF3F4164BB5C}"/>
              </a:ext>
            </a:extLst>
          </p:cNvPr>
          <p:cNvSpPr>
            <a:spLocks noGrp="1"/>
          </p:cNvSpPr>
          <p:nvPr>
            <p:ph type="body" sz="quarter" idx="60" hasCustomPrompt="1"/>
          </p:nvPr>
        </p:nvSpPr>
        <p:spPr>
          <a:xfrm>
            <a:off x="6262788" y="5589718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lIns="0" tIns="0" rIns="0" bIns="0" anchor="ctr"/>
          <a:lstStyle>
            <a:lvl1pPr marL="0" indent="0" algn="ctr">
              <a:buNone/>
              <a:defRPr sz="2800" b="1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</a:defRPr>
            </a:lvl1pPr>
          </a:lstStyle>
          <a:p>
            <a:pPr lvl="0"/>
            <a:r>
              <a:rPr lang="en-US" noProof="0"/>
              <a:t>X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AEA049-3D98-4D27-BBB6-7363FCAE05E4}"/>
              </a:ext>
            </a:extLst>
          </p:cNvPr>
          <p:cNvSpPr>
            <a:spLocks noGrp="1"/>
          </p:cNvSpPr>
          <p:nvPr>
            <p:ph type="dt" sz="half" idx="61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A0ABC626-455B-41B0-A0E7-A5E156590607}" type="datetime1">
              <a:rPr lang="en-US" smtClean="0"/>
              <a:pPr/>
              <a:t>5/2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CE6CB17F-ACF8-494F-935E-30DE3EDF065F}"/>
              </a:ext>
            </a:extLst>
          </p:cNvPr>
          <p:cNvSpPr>
            <a:spLocks noGrp="1"/>
          </p:cNvSpPr>
          <p:nvPr>
            <p:ph type="ftr" sz="quarter" idx="62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8133BF0-8957-4E9B-BE04-D45722805AD4}"/>
              </a:ext>
            </a:extLst>
          </p:cNvPr>
          <p:cNvSpPr>
            <a:spLocks noGrp="1"/>
          </p:cNvSpPr>
          <p:nvPr>
            <p:ph type="sldNum" sz="quarter" idx="63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84040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2 / time slo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noProof="0"/>
              <a:t>Add agenda title</a:t>
            </a:r>
          </a:p>
        </p:txBody>
      </p:sp>
      <p:sp>
        <p:nvSpPr>
          <p:cNvPr id="41" name="Text Placeholder 6"/>
          <p:cNvSpPr>
            <a:spLocks noGrp="1"/>
          </p:cNvSpPr>
          <p:nvPr>
            <p:ph type="body" sz="quarter" idx="61" hasCustomPrompt="1"/>
          </p:nvPr>
        </p:nvSpPr>
        <p:spPr>
          <a:xfrm>
            <a:off x="479425" y="1669646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2" name="Text Placeholder 6"/>
          <p:cNvSpPr>
            <a:spLocks noGrp="1"/>
          </p:cNvSpPr>
          <p:nvPr>
            <p:ph type="body" sz="quarter" idx="62" hasCustomPrompt="1"/>
          </p:nvPr>
        </p:nvSpPr>
        <p:spPr>
          <a:xfrm>
            <a:off x="2305050" y="1669646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3" name="Text Placeholder 6"/>
          <p:cNvSpPr>
            <a:spLocks noGrp="1"/>
          </p:cNvSpPr>
          <p:nvPr>
            <p:ph type="body" sz="quarter" idx="63" hasCustomPrompt="1"/>
          </p:nvPr>
        </p:nvSpPr>
        <p:spPr>
          <a:xfrm>
            <a:off x="8148638" y="1669646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4" name="Text Placeholder 6"/>
          <p:cNvSpPr>
            <a:spLocks noGrp="1"/>
          </p:cNvSpPr>
          <p:nvPr>
            <p:ph type="body" sz="quarter" idx="64" hasCustomPrompt="1"/>
          </p:nvPr>
        </p:nvSpPr>
        <p:spPr>
          <a:xfrm>
            <a:off x="479425" y="2224867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5" name="Text Placeholder 6"/>
          <p:cNvSpPr>
            <a:spLocks noGrp="1"/>
          </p:cNvSpPr>
          <p:nvPr>
            <p:ph type="body" sz="quarter" idx="65" hasCustomPrompt="1"/>
          </p:nvPr>
        </p:nvSpPr>
        <p:spPr>
          <a:xfrm>
            <a:off x="2305050" y="2224867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6" name="Text Placeholder 6"/>
          <p:cNvSpPr>
            <a:spLocks noGrp="1"/>
          </p:cNvSpPr>
          <p:nvPr>
            <p:ph type="body" sz="quarter" idx="66" hasCustomPrompt="1"/>
          </p:nvPr>
        </p:nvSpPr>
        <p:spPr>
          <a:xfrm>
            <a:off x="8148638" y="2224867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47" name="Text Placeholder 6"/>
          <p:cNvSpPr>
            <a:spLocks noGrp="1"/>
          </p:cNvSpPr>
          <p:nvPr>
            <p:ph type="body" sz="quarter" idx="67" hasCustomPrompt="1"/>
          </p:nvPr>
        </p:nvSpPr>
        <p:spPr>
          <a:xfrm>
            <a:off x="479425" y="2780088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48" name="Text Placeholder 6"/>
          <p:cNvSpPr>
            <a:spLocks noGrp="1"/>
          </p:cNvSpPr>
          <p:nvPr>
            <p:ph type="body" sz="quarter" idx="68" hasCustomPrompt="1"/>
          </p:nvPr>
        </p:nvSpPr>
        <p:spPr>
          <a:xfrm>
            <a:off x="2305050" y="2780088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49" name="Text Placeholder 6"/>
          <p:cNvSpPr>
            <a:spLocks noGrp="1"/>
          </p:cNvSpPr>
          <p:nvPr>
            <p:ph type="body" sz="quarter" idx="69" hasCustomPrompt="1"/>
          </p:nvPr>
        </p:nvSpPr>
        <p:spPr>
          <a:xfrm>
            <a:off x="8148638" y="2780088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0" name="Text Placeholder 6"/>
          <p:cNvSpPr>
            <a:spLocks noGrp="1"/>
          </p:cNvSpPr>
          <p:nvPr>
            <p:ph type="body" sz="quarter" idx="70" hasCustomPrompt="1"/>
          </p:nvPr>
        </p:nvSpPr>
        <p:spPr>
          <a:xfrm>
            <a:off x="479425" y="3335309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1" name="Text Placeholder 6"/>
          <p:cNvSpPr>
            <a:spLocks noGrp="1"/>
          </p:cNvSpPr>
          <p:nvPr>
            <p:ph type="body" sz="quarter" idx="71" hasCustomPrompt="1"/>
          </p:nvPr>
        </p:nvSpPr>
        <p:spPr>
          <a:xfrm>
            <a:off x="2305050" y="3335309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2" name="Text Placeholder 6"/>
          <p:cNvSpPr>
            <a:spLocks noGrp="1"/>
          </p:cNvSpPr>
          <p:nvPr>
            <p:ph type="body" sz="quarter" idx="72" hasCustomPrompt="1"/>
          </p:nvPr>
        </p:nvSpPr>
        <p:spPr>
          <a:xfrm>
            <a:off x="8148638" y="3335309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3" name="Text Placeholder 6"/>
          <p:cNvSpPr>
            <a:spLocks noGrp="1"/>
          </p:cNvSpPr>
          <p:nvPr>
            <p:ph type="body" sz="quarter" idx="73" hasCustomPrompt="1"/>
          </p:nvPr>
        </p:nvSpPr>
        <p:spPr>
          <a:xfrm>
            <a:off x="479425" y="3890530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4" name="Text Placeholder 6"/>
          <p:cNvSpPr>
            <a:spLocks noGrp="1"/>
          </p:cNvSpPr>
          <p:nvPr>
            <p:ph type="body" sz="quarter" idx="74" hasCustomPrompt="1"/>
          </p:nvPr>
        </p:nvSpPr>
        <p:spPr>
          <a:xfrm>
            <a:off x="2305050" y="3890530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55" name="Text Placeholder 6"/>
          <p:cNvSpPr>
            <a:spLocks noGrp="1"/>
          </p:cNvSpPr>
          <p:nvPr>
            <p:ph type="body" sz="quarter" idx="75" hasCustomPrompt="1"/>
          </p:nvPr>
        </p:nvSpPr>
        <p:spPr>
          <a:xfrm>
            <a:off x="8148638" y="3890530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56" name="Text Placeholder 6"/>
          <p:cNvSpPr>
            <a:spLocks noGrp="1"/>
          </p:cNvSpPr>
          <p:nvPr>
            <p:ph type="body" sz="quarter" idx="76" hasCustomPrompt="1"/>
          </p:nvPr>
        </p:nvSpPr>
        <p:spPr>
          <a:xfrm>
            <a:off x="479425" y="4445751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57" name="Text Placeholder 6"/>
          <p:cNvSpPr>
            <a:spLocks noGrp="1"/>
          </p:cNvSpPr>
          <p:nvPr>
            <p:ph type="body" sz="quarter" idx="77" hasCustomPrompt="1"/>
          </p:nvPr>
        </p:nvSpPr>
        <p:spPr>
          <a:xfrm>
            <a:off x="2305050" y="4445751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60" name="Text Placeholder 6"/>
          <p:cNvSpPr>
            <a:spLocks noGrp="1"/>
          </p:cNvSpPr>
          <p:nvPr>
            <p:ph type="body" sz="quarter" idx="78" hasCustomPrompt="1"/>
          </p:nvPr>
        </p:nvSpPr>
        <p:spPr>
          <a:xfrm>
            <a:off x="8148638" y="4445751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61" name="Text Placeholder 6"/>
          <p:cNvSpPr>
            <a:spLocks noGrp="1"/>
          </p:cNvSpPr>
          <p:nvPr>
            <p:ph type="body" sz="quarter" idx="79" hasCustomPrompt="1"/>
          </p:nvPr>
        </p:nvSpPr>
        <p:spPr>
          <a:xfrm>
            <a:off x="479425" y="5000972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62" name="Text Placeholder 6"/>
          <p:cNvSpPr>
            <a:spLocks noGrp="1"/>
          </p:cNvSpPr>
          <p:nvPr>
            <p:ph type="body" sz="quarter" idx="80" hasCustomPrompt="1"/>
          </p:nvPr>
        </p:nvSpPr>
        <p:spPr>
          <a:xfrm>
            <a:off x="2305050" y="5000972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87" name="Text Placeholder 6"/>
          <p:cNvSpPr>
            <a:spLocks noGrp="1"/>
          </p:cNvSpPr>
          <p:nvPr>
            <p:ph type="body" sz="quarter" idx="81" hasCustomPrompt="1"/>
          </p:nvPr>
        </p:nvSpPr>
        <p:spPr>
          <a:xfrm>
            <a:off x="8148638" y="5000972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sp>
        <p:nvSpPr>
          <p:cNvPr id="88" name="Text Placeholder 6"/>
          <p:cNvSpPr>
            <a:spLocks noGrp="1"/>
          </p:cNvSpPr>
          <p:nvPr>
            <p:ph type="body" sz="quarter" idx="82" hasCustomPrompt="1"/>
          </p:nvPr>
        </p:nvSpPr>
        <p:spPr>
          <a:xfrm>
            <a:off x="479425" y="5556195"/>
            <a:ext cx="1611314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ime</a:t>
            </a:r>
          </a:p>
        </p:txBody>
      </p:sp>
      <p:sp>
        <p:nvSpPr>
          <p:cNvPr id="89" name="Text Placeholder 6"/>
          <p:cNvSpPr>
            <a:spLocks noGrp="1"/>
          </p:cNvSpPr>
          <p:nvPr>
            <p:ph type="body" sz="quarter" idx="83" hasCustomPrompt="1"/>
          </p:nvPr>
        </p:nvSpPr>
        <p:spPr>
          <a:xfrm>
            <a:off x="2305050" y="5556195"/>
            <a:ext cx="5629275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topic</a:t>
            </a:r>
          </a:p>
        </p:txBody>
      </p:sp>
      <p:sp>
        <p:nvSpPr>
          <p:cNvPr id="90" name="Text Placeholder 6"/>
          <p:cNvSpPr>
            <a:spLocks noGrp="1"/>
          </p:cNvSpPr>
          <p:nvPr>
            <p:ph type="body" sz="quarter" idx="84" hasCustomPrompt="1"/>
          </p:nvPr>
        </p:nvSpPr>
        <p:spPr>
          <a:xfrm>
            <a:off x="8148638" y="5556195"/>
            <a:ext cx="3563937" cy="460430"/>
          </a:xfrm>
          <a:noFill/>
          <a:ln>
            <a:noFill/>
          </a:ln>
        </p:spPr>
        <p:txBody>
          <a:bodyPr lIns="72000" tIns="72000" rIns="36000" bIns="72000" anchor="ctr">
            <a:noAutofit/>
          </a:bodyPr>
          <a:lstStyle>
            <a:lvl1pPr marL="0" indent="0">
              <a:buNone/>
              <a:defRPr sz="15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US" noProof="0"/>
              <a:t>Add responsible</a:t>
            </a:r>
          </a:p>
        </p:txBody>
      </p:sp>
      <p:grpSp>
        <p:nvGrpSpPr>
          <p:cNvPr id="9" name="Group 8">
            <a:extLst>
              <a:ext uri="{FF2B5EF4-FFF2-40B4-BE49-F238E27FC236}">
                <a16:creationId xmlns:a16="http://schemas.microsoft.com/office/drawing/2014/main" id="{5AF44546-1648-451C-910B-498F6D308F00}"/>
              </a:ext>
            </a:extLst>
          </p:cNvPr>
          <p:cNvGrpSpPr/>
          <p:nvPr userDrawn="1"/>
        </p:nvGrpSpPr>
        <p:grpSpPr>
          <a:xfrm>
            <a:off x="479425" y="2147408"/>
            <a:ext cx="1611313" cy="3869217"/>
            <a:chOff x="479425" y="2414108"/>
            <a:chExt cx="1611313" cy="3869217"/>
          </a:xfrm>
        </p:grpSpPr>
        <p:cxnSp>
          <p:nvCxnSpPr>
            <p:cNvPr id="8" name="Straight Connector 7">
              <a:extLst>
                <a:ext uri="{FF2B5EF4-FFF2-40B4-BE49-F238E27FC236}">
                  <a16:creationId xmlns:a16="http://schemas.microsoft.com/office/drawing/2014/main" id="{A42555AF-E1A4-47F5-9169-374271B957B4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5" name="Straight Connector 34">
              <a:extLst>
                <a:ext uri="{FF2B5EF4-FFF2-40B4-BE49-F238E27FC236}">
                  <a16:creationId xmlns:a16="http://schemas.microsoft.com/office/drawing/2014/main" id="{B6555386-084F-44D3-B220-7A39E6783EB0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6" name="Straight Connector 35">
              <a:extLst>
                <a:ext uri="{FF2B5EF4-FFF2-40B4-BE49-F238E27FC236}">
                  <a16:creationId xmlns:a16="http://schemas.microsoft.com/office/drawing/2014/main" id="{3FC74258-649D-42DB-8F4B-05803E4E7B8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7" name="Straight Connector 36">
              <a:extLst>
                <a:ext uri="{FF2B5EF4-FFF2-40B4-BE49-F238E27FC236}">
                  <a16:creationId xmlns:a16="http://schemas.microsoft.com/office/drawing/2014/main" id="{B1A03A7E-9A9A-4333-9151-BC46EA3D27AE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8" name="Straight Connector 37">
              <a:extLst>
                <a:ext uri="{FF2B5EF4-FFF2-40B4-BE49-F238E27FC236}">
                  <a16:creationId xmlns:a16="http://schemas.microsoft.com/office/drawing/2014/main" id="{E14D6B63-DD53-44E0-AA42-1B8355B27F8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8" name="Straight Connector 57">
              <a:extLst>
                <a:ext uri="{FF2B5EF4-FFF2-40B4-BE49-F238E27FC236}">
                  <a16:creationId xmlns:a16="http://schemas.microsoft.com/office/drawing/2014/main" id="{EA73CE9F-97CF-4512-BA54-4F5407269A09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9" name="Straight Connector 58">
              <a:extLst>
                <a:ext uri="{FF2B5EF4-FFF2-40B4-BE49-F238E27FC236}">
                  <a16:creationId xmlns:a16="http://schemas.microsoft.com/office/drawing/2014/main" id="{D9934C2C-659B-435B-A3B2-493AAA8DE686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3" name="Straight Connector 62">
              <a:extLst>
                <a:ext uri="{FF2B5EF4-FFF2-40B4-BE49-F238E27FC236}">
                  <a16:creationId xmlns:a16="http://schemas.microsoft.com/office/drawing/2014/main" id="{D0207F92-367E-4524-AEC3-120A62965AEE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64" name="Group 63">
            <a:extLst>
              <a:ext uri="{FF2B5EF4-FFF2-40B4-BE49-F238E27FC236}">
                <a16:creationId xmlns:a16="http://schemas.microsoft.com/office/drawing/2014/main" id="{D4339DDD-B4E1-4358-B5FA-586443067ECA}"/>
              </a:ext>
            </a:extLst>
          </p:cNvPr>
          <p:cNvGrpSpPr/>
          <p:nvPr userDrawn="1"/>
        </p:nvGrpSpPr>
        <p:grpSpPr>
          <a:xfrm>
            <a:off x="2305050" y="2147408"/>
            <a:ext cx="5629275" cy="3869217"/>
            <a:chOff x="479425" y="2414108"/>
            <a:chExt cx="1611313" cy="3869217"/>
          </a:xfrm>
        </p:grpSpPr>
        <p:cxnSp>
          <p:nvCxnSpPr>
            <p:cNvPr id="65" name="Straight Connector 64">
              <a:extLst>
                <a:ext uri="{FF2B5EF4-FFF2-40B4-BE49-F238E27FC236}">
                  <a16:creationId xmlns:a16="http://schemas.microsoft.com/office/drawing/2014/main" id="{6EBD5BF6-E829-4F5D-A7C5-0B0025A2B99F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6" name="Straight Connector 65">
              <a:extLst>
                <a:ext uri="{FF2B5EF4-FFF2-40B4-BE49-F238E27FC236}">
                  <a16:creationId xmlns:a16="http://schemas.microsoft.com/office/drawing/2014/main" id="{D595886B-5507-40D2-BF5B-5383C7AABAD4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Straight Connector 66">
              <a:extLst>
                <a:ext uri="{FF2B5EF4-FFF2-40B4-BE49-F238E27FC236}">
                  <a16:creationId xmlns:a16="http://schemas.microsoft.com/office/drawing/2014/main" id="{9675BA35-8745-48FB-A3AD-4DEF70AC235D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8" name="Straight Connector 67">
              <a:extLst>
                <a:ext uri="{FF2B5EF4-FFF2-40B4-BE49-F238E27FC236}">
                  <a16:creationId xmlns:a16="http://schemas.microsoft.com/office/drawing/2014/main" id="{C039D460-405B-4C89-B79D-7C5F880B0C58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9" name="Straight Connector 68">
              <a:extLst>
                <a:ext uri="{FF2B5EF4-FFF2-40B4-BE49-F238E27FC236}">
                  <a16:creationId xmlns:a16="http://schemas.microsoft.com/office/drawing/2014/main" id="{A13AA718-6E4C-4272-9664-3EEC7F75FBA9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Connector 69">
              <a:extLst>
                <a:ext uri="{FF2B5EF4-FFF2-40B4-BE49-F238E27FC236}">
                  <a16:creationId xmlns:a16="http://schemas.microsoft.com/office/drawing/2014/main" id="{A585297A-85B5-40D8-B839-32C2284A0177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1" name="Straight Connector 70">
              <a:extLst>
                <a:ext uri="{FF2B5EF4-FFF2-40B4-BE49-F238E27FC236}">
                  <a16:creationId xmlns:a16="http://schemas.microsoft.com/office/drawing/2014/main" id="{45BDA541-7155-4EFF-9480-6AE2114A726F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2" name="Straight Connector 71">
              <a:extLst>
                <a:ext uri="{FF2B5EF4-FFF2-40B4-BE49-F238E27FC236}">
                  <a16:creationId xmlns:a16="http://schemas.microsoft.com/office/drawing/2014/main" id="{FEF7B504-2473-4887-8FC2-1F170BFC35C3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73" name="Group 72">
            <a:extLst>
              <a:ext uri="{FF2B5EF4-FFF2-40B4-BE49-F238E27FC236}">
                <a16:creationId xmlns:a16="http://schemas.microsoft.com/office/drawing/2014/main" id="{B2810FF3-0234-4B54-BE32-7F32EEC9220B}"/>
              </a:ext>
            </a:extLst>
          </p:cNvPr>
          <p:cNvGrpSpPr/>
          <p:nvPr userDrawn="1"/>
        </p:nvGrpSpPr>
        <p:grpSpPr>
          <a:xfrm>
            <a:off x="8148636" y="2147408"/>
            <a:ext cx="3563937" cy="3869217"/>
            <a:chOff x="479425" y="2414108"/>
            <a:chExt cx="1611313" cy="3869217"/>
          </a:xfrm>
        </p:grpSpPr>
        <p:cxnSp>
          <p:nvCxnSpPr>
            <p:cNvPr id="74" name="Straight Connector 73">
              <a:extLst>
                <a:ext uri="{FF2B5EF4-FFF2-40B4-BE49-F238E27FC236}">
                  <a16:creationId xmlns:a16="http://schemas.microsoft.com/office/drawing/2014/main" id="{63DAC0C6-1596-44CF-8D3E-DEECCFCEB7CC}"/>
                </a:ext>
              </a:extLst>
            </p:cNvPr>
            <p:cNvCxnSpPr/>
            <p:nvPr userDrawn="1"/>
          </p:nvCxnSpPr>
          <p:spPr>
            <a:xfrm>
              <a:off x="479425" y="24141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5" name="Straight Connector 74">
              <a:extLst>
                <a:ext uri="{FF2B5EF4-FFF2-40B4-BE49-F238E27FC236}">
                  <a16:creationId xmlns:a16="http://schemas.microsoft.com/office/drawing/2014/main" id="{A3FFDAAC-D868-410B-A29F-658E0FAA73D7}"/>
                </a:ext>
              </a:extLst>
            </p:cNvPr>
            <p:cNvCxnSpPr/>
            <p:nvPr userDrawn="1"/>
          </p:nvCxnSpPr>
          <p:spPr>
            <a:xfrm>
              <a:off x="479425" y="294188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6" name="Straight Connector 75">
              <a:extLst>
                <a:ext uri="{FF2B5EF4-FFF2-40B4-BE49-F238E27FC236}">
                  <a16:creationId xmlns:a16="http://schemas.microsoft.com/office/drawing/2014/main" id="{AB109B53-EDD2-476E-80A7-AFB992AF7D43}"/>
                </a:ext>
              </a:extLst>
            </p:cNvPr>
            <p:cNvCxnSpPr/>
            <p:nvPr userDrawn="1"/>
          </p:nvCxnSpPr>
          <p:spPr>
            <a:xfrm>
              <a:off x="479425" y="349324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>
              <a:extLst>
                <a:ext uri="{FF2B5EF4-FFF2-40B4-BE49-F238E27FC236}">
                  <a16:creationId xmlns:a16="http://schemas.microsoft.com/office/drawing/2014/main" id="{B04AFB6E-1ED5-4909-80A7-0C41EBB886B9}"/>
                </a:ext>
              </a:extLst>
            </p:cNvPr>
            <p:cNvCxnSpPr/>
            <p:nvPr userDrawn="1"/>
          </p:nvCxnSpPr>
          <p:spPr>
            <a:xfrm>
              <a:off x="479425" y="4062439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8" name="Straight Connector 77">
              <a:extLst>
                <a:ext uri="{FF2B5EF4-FFF2-40B4-BE49-F238E27FC236}">
                  <a16:creationId xmlns:a16="http://schemas.microsoft.com/office/drawing/2014/main" id="{B8D16148-854F-429E-9BE5-ACB42857AFC3}"/>
                </a:ext>
              </a:extLst>
            </p:cNvPr>
            <p:cNvCxnSpPr/>
            <p:nvPr userDrawn="1"/>
          </p:nvCxnSpPr>
          <p:spPr>
            <a:xfrm>
              <a:off x="479425" y="4617660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>
              <a:extLst>
                <a:ext uri="{FF2B5EF4-FFF2-40B4-BE49-F238E27FC236}">
                  <a16:creationId xmlns:a16="http://schemas.microsoft.com/office/drawing/2014/main" id="{2D279F8E-5166-4C03-A3BF-EE2758DA71B3}"/>
                </a:ext>
              </a:extLst>
            </p:cNvPr>
            <p:cNvCxnSpPr/>
            <p:nvPr userDrawn="1"/>
          </p:nvCxnSpPr>
          <p:spPr>
            <a:xfrm>
              <a:off x="479425" y="5182608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0" name="Straight Connector 79">
              <a:extLst>
                <a:ext uri="{FF2B5EF4-FFF2-40B4-BE49-F238E27FC236}">
                  <a16:creationId xmlns:a16="http://schemas.microsoft.com/office/drawing/2014/main" id="{3A451ACE-7DEC-41A9-A0A0-952E37DFB5A8}"/>
                </a:ext>
              </a:extLst>
            </p:cNvPr>
            <p:cNvCxnSpPr/>
            <p:nvPr userDrawn="1"/>
          </p:nvCxnSpPr>
          <p:spPr>
            <a:xfrm>
              <a:off x="479425" y="5722022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>
              <a:extLst>
                <a:ext uri="{FF2B5EF4-FFF2-40B4-BE49-F238E27FC236}">
                  <a16:creationId xmlns:a16="http://schemas.microsoft.com/office/drawing/2014/main" id="{F4A4AEAD-0AA2-4ADE-A79A-B34BB9BAFAA2}"/>
                </a:ext>
              </a:extLst>
            </p:cNvPr>
            <p:cNvCxnSpPr/>
            <p:nvPr userDrawn="1"/>
          </p:nvCxnSpPr>
          <p:spPr>
            <a:xfrm>
              <a:off x="479425" y="6283325"/>
              <a:ext cx="1611313" cy="0"/>
            </a:xfrm>
            <a:prstGeom prst="line">
              <a:avLst/>
            </a:prstGeom>
            <a:ln w="6350">
              <a:solidFill>
                <a:schemeClr val="bg2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D1834548-5653-41F2-B56C-2C649F09CA2A}"/>
              </a:ext>
            </a:extLst>
          </p:cNvPr>
          <p:cNvSpPr>
            <a:spLocks noGrp="1"/>
          </p:cNvSpPr>
          <p:nvPr>
            <p:ph type="dt" sz="half" idx="85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A0ABC626-455B-41B0-A0E7-A5E156590607}" type="datetime1">
              <a:rPr lang="en-US" smtClean="0"/>
              <a:pPr/>
              <a:t>5/20/2025</a:t>
            </a:fld>
            <a:endParaRPr lang="en-US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E97B84B0-822D-49C6-A34C-86186352F6A5}"/>
              </a:ext>
            </a:extLst>
          </p:cNvPr>
          <p:cNvSpPr>
            <a:spLocks noGrp="1"/>
          </p:cNvSpPr>
          <p:nvPr>
            <p:ph type="ftr" sz="quarter" idx="8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FD0B388B-F2D2-4661-9DC9-E8C0621E3BBE}"/>
              </a:ext>
            </a:extLst>
          </p:cNvPr>
          <p:cNvSpPr>
            <a:spLocks noGrp="1"/>
          </p:cNvSpPr>
          <p:nvPr>
            <p:ph type="sldNum" sz="quarter" idx="8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884530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główek sekcj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" y="0"/>
            <a:ext cx="12191999" cy="6283325"/>
          </a:xfrm>
          <a:solidFill>
            <a:schemeClr val="tx1"/>
          </a:solidFill>
        </p:spPr>
        <p:txBody>
          <a:bodyPr vert="horz" lIns="396000" tIns="1188000" rIns="0" bIns="0" rtlCol="0" anchor="t">
            <a:noAutofit/>
          </a:bodyPr>
          <a:lstStyle>
            <a:lvl1pPr>
              <a:defRPr lang="en-US" sz="11200">
                <a:solidFill>
                  <a:schemeClr val="bg1"/>
                </a:solidFill>
              </a:defRPr>
            </a:lvl1pPr>
          </a:lstStyle>
          <a:p>
            <a:pPr marL="0" lvl="0"/>
            <a:r>
              <a:rPr lang="en-US" noProof="0"/>
              <a:t>No.</a:t>
            </a:r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9E59AC80-2065-4B79-ABB9-E0090AED576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79425" y="1905581"/>
            <a:ext cx="4533899" cy="3355393"/>
          </a:xfrm>
        </p:spPr>
        <p:txBody>
          <a:bodyPr/>
          <a:lstStyle>
            <a:lvl1pPr marL="0" indent="0">
              <a:buNone/>
              <a:defRPr sz="2400" b="0">
                <a:solidFill>
                  <a:schemeClr val="bg1"/>
                </a:solidFill>
              </a:defRPr>
            </a:lvl1pPr>
            <a:lvl2pPr marL="199104" indent="0">
              <a:buNone/>
              <a:defRPr sz="2400" b="1">
                <a:solidFill>
                  <a:schemeClr val="bg1"/>
                </a:solidFill>
              </a:defRPr>
            </a:lvl2pPr>
            <a:lvl3pPr marL="398209" indent="0">
              <a:buNone/>
              <a:defRPr sz="2400" b="1">
                <a:solidFill>
                  <a:schemeClr val="bg1"/>
                </a:solidFill>
              </a:defRPr>
            </a:lvl3pPr>
            <a:lvl4pPr marL="597314" indent="0">
              <a:buNone/>
              <a:defRPr sz="2400" b="1">
                <a:solidFill>
                  <a:schemeClr val="bg1"/>
                </a:solidFill>
              </a:defRPr>
            </a:lvl4pPr>
            <a:lvl5pPr marL="810640" indent="0">
              <a:buNone/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Chapter description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B69CADED-E389-4A90-8695-2241B35CC4B1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A0ABC626-455B-41B0-A0E7-A5E156590607}" type="datetime1">
              <a:rPr lang="en-US" smtClean="0"/>
              <a:pPr/>
              <a:t>5/20/2025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AA70BB6-25A7-4634-8894-E73E4AFD4075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02963D1F-9BC2-4C83-B4E0-D420BF762FF2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64405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4B4BFD70-DB4E-40A7-BB2B-CDCE358B2D10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12192000" cy="6283325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noProof="0"/>
              <a:t>Click to insert a pictur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4F308AD-319A-4257-8F36-D8EC672BBAF8}"/>
              </a:ext>
            </a:extLst>
          </p:cNvPr>
          <p:cNvSpPr>
            <a:spLocks noGrp="1"/>
          </p:cNvSpPr>
          <p:nvPr>
            <p:ph type="dt" sz="half" idx="14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A0ABC626-455B-41B0-A0E7-A5E156590607}" type="datetime1">
              <a:rPr lang="en-US" smtClean="0"/>
              <a:pPr/>
              <a:t>5/2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BE2CDDB3-FE79-401E-B3FC-2814F04A41DE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86AB3FD-5A37-415A-B656-2C687E1EE8C3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0195103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ytuł i zawartoś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8012001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3" imgW="663" imgH="659" progId="TCLayout.ActiveDocument.1">
                  <p:embed/>
                </p:oleObj>
              </mc:Choice>
              <mc:Fallback>
                <p:oleObj name="Diapositiva think-cell" r:id="rId3" imgW="663" imgH="659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Content Placeholder 11"/>
          <p:cNvSpPr>
            <a:spLocks noGrp="1"/>
          </p:cNvSpPr>
          <p:nvPr>
            <p:ph sz="quarter" idx="13"/>
          </p:nvPr>
        </p:nvSpPr>
        <p:spPr/>
        <p:txBody>
          <a:bodyPr/>
          <a:lstStyle/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FB898C72-7053-41C8-962D-E7ABA07F07D3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F8D286F-0631-4A74-BC0F-B8FAF09572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A08CF4EB-E2D2-439D-9045-B7CD284FB983}"/>
              </a:ext>
            </a:extLst>
          </p:cNvPr>
          <p:cNvSpPr>
            <a:spLocks noGrp="1"/>
          </p:cNvSpPr>
          <p:nvPr>
            <p:ph type="dt" sz="half" idx="15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A0ABC626-455B-41B0-A0E7-A5E156590607}" type="datetime1">
              <a:rPr lang="en-US" smtClean="0"/>
              <a:pPr/>
              <a:t>5/20/2025</a:t>
            </a:fld>
            <a:endParaRPr lang="en-US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958D13E1-3A34-43A4-9A9E-36AA97573910}"/>
              </a:ext>
            </a:extLst>
          </p:cNvPr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C779AEF6-0861-4BED-8DBA-F8E201DBF67A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50149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wa elementy zawartośc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336B0225-7039-48B3-98CA-F9C79F378E5B}"/>
              </a:ext>
            </a:extLst>
          </p:cNvPr>
          <p:cNvSpPr>
            <a:spLocks noGrp="1"/>
          </p:cNvSpPr>
          <p:nvPr>
            <p:ph type="dt" sz="half" idx="20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A0ABC626-455B-41B0-A0E7-A5E156590607}" type="datetime1">
              <a:rPr lang="en-US" smtClean="0"/>
              <a:pPr/>
              <a:t>5/2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782861D1-EF2F-4EB2-AEF2-E522D67DA9D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3C9D6DA-69E9-442F-A773-A891DDE182EB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0E30B8C3-99BC-4EA8-9F51-16441ACFF127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/>
          </a:p>
        </p:txBody>
      </p:sp>
      <p:sp>
        <p:nvSpPr>
          <p:cNvPr id="15" name="Content Placeholder 15">
            <a:extLst>
              <a:ext uri="{FF2B5EF4-FFF2-40B4-BE49-F238E27FC236}">
                <a16:creationId xmlns:a16="http://schemas.microsoft.com/office/drawing/2014/main" id="{75D73B26-0895-4883-BA0C-764814FBE6E2}"/>
              </a:ext>
            </a:extLst>
          </p:cNvPr>
          <p:cNvSpPr>
            <a:spLocks noGrp="1"/>
          </p:cNvSpPr>
          <p:nvPr>
            <p:ph sz="quarter" idx="23"/>
          </p:nvPr>
        </p:nvSpPr>
        <p:spPr>
          <a:xfrm>
            <a:off x="6257393" y="1520455"/>
            <a:ext cx="5453230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/>
          </a:p>
        </p:txBody>
      </p:sp>
      <p:sp>
        <p:nvSpPr>
          <p:cNvPr id="9" name="Text Placeholder 7">
            <a:extLst>
              <a:ext uri="{FF2B5EF4-FFF2-40B4-BE49-F238E27FC236}">
                <a16:creationId xmlns:a16="http://schemas.microsoft.com/office/drawing/2014/main" id="{5933180D-75FE-4F14-8D5E-D9A2074AA93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0" name="Title Placeholder 1">
            <a:extLst>
              <a:ext uri="{FF2B5EF4-FFF2-40B4-BE49-F238E27FC236}">
                <a16:creationId xmlns:a16="http://schemas.microsoft.com/office/drawing/2014/main" id="{D00FB905-32CD-42E9-8258-F12B297987F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11218549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Content Placeholder 15"/>
          <p:cNvSpPr>
            <a:spLocks noGrp="1"/>
          </p:cNvSpPr>
          <p:nvPr>
            <p:ph sz="quarter" idx="18"/>
          </p:nvPr>
        </p:nvSpPr>
        <p:spPr>
          <a:xfrm>
            <a:off x="479425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/>
          </a:p>
        </p:txBody>
      </p:sp>
      <p:sp>
        <p:nvSpPr>
          <p:cNvPr id="10" name="Content Placeholder 15">
            <a:extLst>
              <a:ext uri="{FF2B5EF4-FFF2-40B4-BE49-F238E27FC236}">
                <a16:creationId xmlns:a16="http://schemas.microsoft.com/office/drawing/2014/main" id="{0B733BB0-DDF7-43FE-8650-14ED80168530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4316412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/>
          </a:p>
        </p:txBody>
      </p:sp>
      <p:sp>
        <p:nvSpPr>
          <p:cNvPr id="14" name="Content Placeholder 15">
            <a:extLst>
              <a:ext uri="{FF2B5EF4-FFF2-40B4-BE49-F238E27FC236}">
                <a16:creationId xmlns:a16="http://schemas.microsoft.com/office/drawing/2014/main" id="{40624097-47BA-486C-B254-5708E62FF98C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8153400" y="1520455"/>
            <a:ext cx="3559175" cy="4610837"/>
          </a:xfr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lIns="216000" tIns="216000" rIns="180000" bIns="216000"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/>
          </a:p>
        </p:txBody>
      </p:sp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05A9E12F-56E6-4CE7-AC36-74FAA7DC90B1}"/>
              </a:ext>
            </a:extLst>
          </p:cNvPr>
          <p:cNvSpPr>
            <a:spLocks noGrp="1"/>
          </p:cNvSpPr>
          <p:nvPr>
            <p:ph type="dt" sz="half" idx="23"/>
          </p:nvPr>
        </p:nvSpPr>
        <p:spPr>
          <a:xfrm>
            <a:off x="3008551" y="6529068"/>
            <a:ext cx="759950" cy="153888"/>
          </a:xfrm>
          <a:prstGeom prst="rect">
            <a:avLst/>
          </a:prstGeom>
        </p:spPr>
        <p:txBody>
          <a:bodyPr/>
          <a:lstStyle/>
          <a:p>
            <a:fld id="{A0ABC626-455B-41B0-A0E7-A5E156590607}" type="datetime1">
              <a:rPr lang="en-US" smtClean="0"/>
              <a:pPr/>
              <a:t>5/20/2025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FCB355-B74E-4957-8F6A-00F07C389E77}"/>
              </a:ext>
            </a:extLst>
          </p:cNvPr>
          <p:cNvSpPr>
            <a:spLocks noGrp="1"/>
          </p:cNvSpPr>
          <p:nvPr>
            <p:ph type="ftr" sz="quarter" idx="24"/>
          </p:nvPr>
        </p:nvSpPr>
        <p:spPr/>
        <p:txBody>
          <a:bodyPr/>
          <a:lstStyle/>
          <a:p>
            <a:pPr algn="l"/>
            <a:r>
              <a:rPr lang="en-US"/>
              <a:t>COMPANY CONFIDENTIAL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2EA9B464-C3D1-4C04-9D0D-15CDD8B1CFE8}"/>
              </a:ext>
            </a:extLst>
          </p:cNvPr>
          <p:cNvSpPr>
            <a:spLocks noGrp="1"/>
          </p:cNvSpPr>
          <p:nvPr>
            <p:ph type="sldNum" sz="quarter" idx="25"/>
          </p:nvPr>
        </p:nvSpPr>
        <p:spPr/>
        <p:txBody>
          <a:bodyPr/>
          <a:lstStyle/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sp>
        <p:nvSpPr>
          <p:cNvPr id="11" name="Text Placeholder 7">
            <a:extLst>
              <a:ext uri="{FF2B5EF4-FFF2-40B4-BE49-F238E27FC236}">
                <a16:creationId xmlns:a16="http://schemas.microsoft.com/office/drawing/2014/main" id="{3BD1A00F-254A-4998-AD1B-BC5B24CBC0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75521" y="873877"/>
            <a:ext cx="11235102" cy="376456"/>
          </a:xfrm>
        </p:spPr>
        <p:txBody>
          <a:bodyPr/>
          <a:lstStyle>
            <a:lvl1pPr marL="0" indent="0">
              <a:buNone/>
              <a:defRPr sz="1800"/>
            </a:lvl1pPr>
            <a:lvl2pPr marL="199104" indent="0">
              <a:buNone/>
              <a:defRPr/>
            </a:lvl2pPr>
          </a:lstStyle>
          <a:p>
            <a:pPr lvl="0"/>
            <a:r>
              <a:rPr lang="en-US"/>
              <a:t>Click to insert </a:t>
            </a:r>
            <a:r>
              <a:rPr lang="en-US" err="1"/>
              <a:t>subheadline</a:t>
            </a:r>
            <a:endParaRPr lang="en-US"/>
          </a:p>
        </p:txBody>
      </p:sp>
      <p:sp>
        <p:nvSpPr>
          <p:cNvPr id="12" name="Title Placeholder 1">
            <a:extLst>
              <a:ext uri="{FF2B5EF4-FFF2-40B4-BE49-F238E27FC236}">
                <a16:creationId xmlns:a16="http://schemas.microsoft.com/office/drawing/2014/main" id="{C65BD86D-DE0C-4FF1-A7AE-72A2DA52496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94490"/>
            <a:ext cx="11233150" cy="3880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/>
            </a:lvl1pPr>
          </a:lstStyle>
          <a:p>
            <a:r>
              <a:rPr lang="en-US" noProof="0"/>
              <a:t>Insert headline</a:t>
            </a:r>
          </a:p>
        </p:txBody>
      </p:sp>
    </p:spTree>
    <p:extLst>
      <p:ext uri="{BB962C8B-B14F-4D97-AF65-F5344CB8AC3E}">
        <p14:creationId xmlns:p14="http://schemas.microsoft.com/office/powerpoint/2010/main" val="28336703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>
            <p:custDataLst>
              <p:tags r:id="rId20"/>
            </p:custDataLst>
            <p:extLst>
              <p:ext uri="{D42A27DB-BD31-4B8C-83A1-F6EECF244321}">
                <p14:modId xmlns:p14="http://schemas.microsoft.com/office/powerpoint/2010/main" val="3594057031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think-cell" r:id="rId21" imgW="270" imgH="270" progId="TCLayout.ActiveDocument.1">
                  <p:embed/>
                </p:oleObj>
              </mc:Choice>
              <mc:Fallback>
                <p:oleObj name="Diapositiva think-cell" r:id="rId21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79425" y="494490"/>
            <a:ext cx="11233150" cy="45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 noProof="0"/>
              <a:t>Click to edit headlin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79425" y="1416345"/>
            <a:ext cx="11235102" cy="486376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pl-PL" noProof="0"/>
              <a:t>Kliknij, aby edytować style wzorca tekstu</a:t>
            </a:r>
          </a:p>
          <a:p>
            <a:pPr lvl="1"/>
            <a:r>
              <a:rPr lang="pl-PL" noProof="0"/>
              <a:t>Drugi poziom</a:t>
            </a:r>
          </a:p>
          <a:p>
            <a:pPr lvl="2"/>
            <a:r>
              <a:rPr lang="pl-PL" noProof="0"/>
              <a:t>Trzeci poziom</a:t>
            </a:r>
          </a:p>
          <a:p>
            <a:pPr lvl="3"/>
            <a:r>
              <a:rPr lang="pl-PL" noProof="0"/>
              <a:t>Czwarty poziom</a:t>
            </a:r>
          </a:p>
          <a:p>
            <a:pPr lvl="4"/>
            <a:r>
              <a:rPr lang="pl-PL" noProof="0"/>
              <a:t>Piąty poziom</a:t>
            </a:r>
            <a:endParaRPr lang="en-US" noProof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920896" y="6529068"/>
            <a:ext cx="5835504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ctr">
              <a:defRPr sz="1000">
                <a:solidFill>
                  <a:schemeClr val="bg2"/>
                </a:solidFill>
              </a:defRPr>
            </a:lvl1pPr>
          </a:lstStyle>
          <a:p>
            <a:pPr algn="l"/>
            <a:r>
              <a:rPr lang="en-US"/>
              <a:t>COMPANY CONFIDENTIA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79426" y="6529068"/>
            <a:ext cx="270170" cy="153888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1000">
                <a:solidFill>
                  <a:schemeClr val="bg2"/>
                </a:solidFill>
              </a:defRPr>
            </a:lvl1pPr>
          </a:lstStyle>
          <a:p>
            <a:fld id="{6C385236-B7BA-4938-9EA6-6DEC8CA653D7}" type="slidenum">
              <a:rPr lang="en-US" smtClean="0"/>
              <a:pPr/>
              <a:t>‹Nº›</a:t>
            </a:fld>
            <a:endParaRPr lang="en-US"/>
          </a:p>
        </p:txBody>
      </p:sp>
      <p:pic>
        <p:nvPicPr>
          <p:cNvPr id="60" name="Picture 59">
            <a:extLst>
              <a:ext uri="{FF2B5EF4-FFF2-40B4-BE49-F238E27FC236}">
                <a16:creationId xmlns:a16="http://schemas.microsoft.com/office/drawing/2014/main" id="{E554F899-0C42-4584-AB31-B3CB5C39A5FE}"/>
              </a:ext>
            </a:extLst>
          </p:cNvPr>
          <p:cNvPicPr>
            <a:picLocks noChangeAspect="1"/>
          </p:cNvPicPr>
          <p:nvPr userDrawn="1"/>
        </p:nvPicPr>
        <p:blipFill>
          <a:blip r:embed="rId2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21763" y="6280109"/>
            <a:ext cx="1698923" cy="578036"/>
          </a:xfrm>
          <a:prstGeom prst="rect">
            <a:avLst/>
          </a:prstGeom>
        </p:spPr>
      </p:pic>
      <p:cxnSp>
        <p:nvCxnSpPr>
          <p:cNvPr id="9" name="Straight Connector 8">
            <a:extLst>
              <a:ext uri="{FF2B5EF4-FFF2-40B4-BE49-F238E27FC236}">
                <a16:creationId xmlns:a16="http://schemas.microsoft.com/office/drawing/2014/main" id="{79F4330D-ED58-4D57-AF19-921FEB513F99}"/>
              </a:ext>
            </a:extLst>
          </p:cNvPr>
          <p:cNvCxnSpPr/>
          <p:nvPr userDrawn="1"/>
        </p:nvCxnSpPr>
        <p:spPr>
          <a:xfrm>
            <a:off x="759891" y="6529068"/>
            <a:ext cx="0" cy="153888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5665656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97" r:id="rId2"/>
    <p:sldLayoutId id="2147483735" r:id="rId3"/>
    <p:sldLayoutId id="2147483698" r:id="rId4"/>
    <p:sldLayoutId id="2147483660" r:id="rId5"/>
    <p:sldLayoutId id="2147483725" r:id="rId6"/>
    <p:sldLayoutId id="2147483650" r:id="rId7"/>
    <p:sldLayoutId id="2147483652" r:id="rId8"/>
    <p:sldLayoutId id="2147483721" r:id="rId9"/>
    <p:sldLayoutId id="2147483724" r:id="rId10"/>
    <p:sldLayoutId id="2147483653" r:id="rId11"/>
    <p:sldLayoutId id="2147483723" r:id="rId12"/>
    <p:sldLayoutId id="2147483654" r:id="rId13"/>
    <p:sldLayoutId id="2147483732" r:id="rId14"/>
    <p:sldLayoutId id="2147483731" r:id="rId15"/>
    <p:sldLayoutId id="2147483728" r:id="rId16"/>
    <p:sldLayoutId id="2147483736" r:id="rId17"/>
    <p:sldLayoutId id="2147483720" r:id="rId18"/>
  </p:sldLayoutIdLst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  <p:hf hdr="0" dt="0"/>
  <p:txStyles>
    <p:titleStyle>
      <a:lvl1pPr algn="l" defTabSz="1023967" rtl="0" eaLnBrk="1" latinLnBrk="0" hangingPunct="1">
        <a:lnSpc>
          <a:spcPts val="3100"/>
        </a:lnSpc>
        <a:spcBef>
          <a:spcPct val="0"/>
        </a:spcBef>
        <a:spcAft>
          <a:spcPts val="400"/>
        </a:spcAft>
        <a:buNone/>
        <a:tabLst>
          <a:tab pos="989013" algn="l"/>
        </a:tabLst>
        <a:defRPr sz="28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99105" indent="-199105" algn="l" defTabSz="1023967" rtl="0" eaLnBrk="1" latinLnBrk="0" hangingPunct="1">
        <a:lnSpc>
          <a:spcPct val="120000"/>
        </a:lnSpc>
        <a:spcBef>
          <a:spcPct val="200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98209" indent="-199105" algn="l" defTabSz="1023967" rtl="0" eaLnBrk="1" latinLnBrk="0" hangingPunct="1">
        <a:lnSpc>
          <a:spcPct val="120000"/>
        </a:lnSpc>
        <a:spcBef>
          <a:spcPct val="20000"/>
        </a:spcBef>
        <a:buFont typeface="Arial" panose="020B0604020202020204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597314" indent="-199105" algn="l" defTabSz="1023967" rtl="0" eaLnBrk="1" latinLnBrk="0" hangingPunct="1">
        <a:lnSpc>
          <a:spcPct val="120000"/>
        </a:lnSpc>
        <a:spcBef>
          <a:spcPct val="20000"/>
        </a:spcBef>
        <a:buFont typeface="Courier New" panose="02070309020205020404" pitchFamily="49" charset="0"/>
        <a:buChar char="o"/>
        <a:defRPr sz="1300" kern="1200">
          <a:solidFill>
            <a:schemeClr val="tx1"/>
          </a:solidFill>
          <a:latin typeface="+mn-lt"/>
          <a:ea typeface="+mn-ea"/>
          <a:cs typeface="+mn-cs"/>
        </a:defRPr>
      </a:lvl3pPr>
      <a:lvl4pPr marL="810641" indent="-213327" algn="l" defTabSz="1023967" rtl="0" eaLnBrk="1" latinLnBrk="0" hangingPunct="1">
        <a:lnSpc>
          <a:spcPct val="120000"/>
        </a:lnSpc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4pPr>
      <a:lvl5pPr marL="1009745" indent="-199105" algn="l" defTabSz="1023967" rtl="0" eaLnBrk="1" latinLnBrk="0" hangingPunct="1">
        <a:lnSpc>
          <a:spcPct val="120000"/>
        </a:lnSpc>
        <a:spcBef>
          <a:spcPct val="20000"/>
        </a:spcBef>
        <a:buFont typeface="Courier New" panose="02070309020205020404" pitchFamily="49" charset="0"/>
        <a:buChar char="o"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815910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6pPr>
      <a:lvl7pPr marL="3327892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7pPr>
      <a:lvl8pPr marL="3839876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8pPr>
      <a:lvl9pPr marL="4351859" indent="-255992" algn="l" defTabSz="1023967" rtl="0" eaLnBrk="1" latinLnBrk="0" hangingPunct="1">
        <a:spcBef>
          <a:spcPct val="20000"/>
        </a:spcBef>
        <a:buFont typeface="Arial" panose="020B0604020202020204" pitchFamily="34" charset="0"/>
        <a:buChar char="•"/>
        <a:defRPr sz="2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5119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023967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3595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4793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5991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3071901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583884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4095868" algn="l" defTabSz="1023967" rtl="0" eaLnBrk="1" latinLnBrk="0" hangingPunct="1"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00" userDrawn="1">
          <p15:clr>
            <a:srgbClr val="F26B43"/>
          </p15:clr>
        </p15:guide>
        <p15:guide id="2" pos="302" userDrawn="1">
          <p15:clr>
            <a:srgbClr val="F26B43"/>
          </p15:clr>
        </p15:guide>
        <p15:guide id="4" orient="horz" pos="3952" userDrawn="1">
          <p15:clr>
            <a:srgbClr val="F26B43"/>
          </p15:clr>
        </p15:guide>
        <p15:guide id="5" pos="7378" userDrawn="1">
          <p15:clr>
            <a:srgbClr val="F26B43"/>
          </p15:clr>
        </p15:guide>
        <p15:guide id="10" orient="horz" pos="890" userDrawn="1">
          <p15:clr>
            <a:srgbClr val="F26B43"/>
          </p15:clr>
        </p15:guide>
        <p15:guide id="18" pos="1317" userDrawn="1">
          <p15:clr>
            <a:srgbClr val="A4A3A4"/>
          </p15:clr>
        </p15:guide>
        <p15:guide id="19" pos="1452" userDrawn="1">
          <p15:clr>
            <a:srgbClr val="A4A3A4"/>
          </p15:clr>
        </p15:guide>
        <p15:guide id="22" pos="2544" userDrawn="1">
          <p15:clr>
            <a:srgbClr val="A4A3A4"/>
          </p15:clr>
        </p15:guide>
        <p15:guide id="23" pos="2679" userDrawn="1">
          <p15:clr>
            <a:srgbClr val="A4A3A4"/>
          </p15:clr>
        </p15:guide>
        <p15:guide id="26" pos="3771" userDrawn="1">
          <p15:clr>
            <a:srgbClr val="A4A3A4"/>
          </p15:clr>
        </p15:guide>
        <p15:guide id="27" pos="3906" userDrawn="1">
          <p15:clr>
            <a:srgbClr val="A4A3A4"/>
          </p15:clr>
        </p15:guide>
        <p15:guide id="30" pos="4998" userDrawn="1">
          <p15:clr>
            <a:srgbClr val="A4A3A4"/>
          </p15:clr>
        </p15:guide>
        <p15:guide id="31" pos="5133" userDrawn="1">
          <p15:clr>
            <a:srgbClr val="A4A3A4"/>
          </p15:clr>
        </p15:guide>
        <p15:guide id="34" pos="6225" userDrawn="1">
          <p15:clr>
            <a:srgbClr val="A4A3A4"/>
          </p15:clr>
        </p15:guide>
        <p15:guide id="35" pos="6360" userDrawn="1">
          <p15:clr>
            <a:srgbClr val="A4A3A4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tiff"/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1.xml"/><Relationship Id="rId5" Type="http://schemas.openxmlformats.org/officeDocument/2006/relationships/image" Target="../media/image12.png"/><Relationship Id="rId4" Type="http://schemas.openxmlformats.org/officeDocument/2006/relationships/customXml" Target="../ink/ink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10.xml"/><Relationship Id="rId5" Type="http://schemas.openxmlformats.org/officeDocument/2006/relationships/image" Target="../media/image25.png"/><Relationship Id="rId4" Type="http://schemas.openxmlformats.org/officeDocument/2006/relationships/image" Target="../media/image24.png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8.png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28.png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0.png"/><Relationship Id="rId1" Type="http://schemas.openxmlformats.org/officeDocument/2006/relationships/slideLayout" Target="../slideLayouts/slideLayout14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1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8.png"/><Relationship Id="rId13" Type="http://schemas.openxmlformats.org/officeDocument/2006/relationships/image" Target="../media/image43.png"/><Relationship Id="rId18" Type="http://schemas.openxmlformats.org/officeDocument/2006/relationships/image" Target="../media/image48.png"/><Relationship Id="rId3" Type="http://schemas.openxmlformats.org/officeDocument/2006/relationships/image" Target="../media/image33.png"/><Relationship Id="rId7" Type="http://schemas.openxmlformats.org/officeDocument/2006/relationships/image" Target="../media/image37.png"/><Relationship Id="rId12" Type="http://schemas.openxmlformats.org/officeDocument/2006/relationships/image" Target="../media/image42.png"/><Relationship Id="rId17" Type="http://schemas.openxmlformats.org/officeDocument/2006/relationships/image" Target="../media/image47.png"/><Relationship Id="rId2" Type="http://schemas.openxmlformats.org/officeDocument/2006/relationships/image" Target="../media/image32.tiff"/><Relationship Id="rId16" Type="http://schemas.openxmlformats.org/officeDocument/2006/relationships/image" Target="../media/image46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36.png"/><Relationship Id="rId11" Type="http://schemas.openxmlformats.org/officeDocument/2006/relationships/image" Target="../media/image41.jpeg"/><Relationship Id="rId5" Type="http://schemas.openxmlformats.org/officeDocument/2006/relationships/image" Target="../media/image35.png"/><Relationship Id="rId15" Type="http://schemas.openxmlformats.org/officeDocument/2006/relationships/image" Target="../media/image45.png"/><Relationship Id="rId10" Type="http://schemas.openxmlformats.org/officeDocument/2006/relationships/image" Target="../media/image40.png"/><Relationship Id="rId19" Type="http://schemas.openxmlformats.org/officeDocument/2006/relationships/image" Target="../media/image49.png"/><Relationship Id="rId4" Type="http://schemas.openxmlformats.org/officeDocument/2006/relationships/image" Target="../media/image34.png"/><Relationship Id="rId9" Type="http://schemas.openxmlformats.org/officeDocument/2006/relationships/image" Target="../media/image39.png"/><Relationship Id="rId14" Type="http://schemas.openxmlformats.org/officeDocument/2006/relationships/image" Target="../media/image44.pn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png"/><Relationship Id="rId3" Type="http://schemas.openxmlformats.org/officeDocument/2006/relationships/image" Target="../media/image51.png"/><Relationship Id="rId7" Type="http://schemas.openxmlformats.org/officeDocument/2006/relationships/image" Target="../media/image55.png"/><Relationship Id="rId12" Type="http://schemas.openxmlformats.org/officeDocument/2006/relationships/image" Target="../media/image60.png"/><Relationship Id="rId2" Type="http://schemas.openxmlformats.org/officeDocument/2006/relationships/image" Target="../media/image50.tiff"/><Relationship Id="rId16" Type="http://schemas.openxmlformats.org/officeDocument/2006/relationships/image" Target="../media/image64.png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54.png"/><Relationship Id="rId11" Type="http://schemas.openxmlformats.org/officeDocument/2006/relationships/image" Target="../media/image59.png"/><Relationship Id="rId5" Type="http://schemas.openxmlformats.org/officeDocument/2006/relationships/image" Target="../media/image53.png"/><Relationship Id="rId15" Type="http://schemas.openxmlformats.org/officeDocument/2006/relationships/image" Target="../media/image63.png"/><Relationship Id="rId10" Type="http://schemas.openxmlformats.org/officeDocument/2006/relationships/image" Target="../media/image58.png"/><Relationship Id="rId4" Type="http://schemas.openxmlformats.org/officeDocument/2006/relationships/image" Target="../media/image52.png"/><Relationship Id="rId9" Type="http://schemas.openxmlformats.org/officeDocument/2006/relationships/image" Target="../media/image57.png"/><Relationship Id="rId14" Type="http://schemas.openxmlformats.org/officeDocument/2006/relationships/image" Target="../media/image62.png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tiff"/><Relationship Id="rId1" Type="http://schemas.openxmlformats.org/officeDocument/2006/relationships/slideLayout" Target="../slideLayouts/slideLayout14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14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10.tiff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70.png"/><Relationship Id="rId5" Type="http://schemas.openxmlformats.org/officeDocument/2006/relationships/image" Target="../media/image69.png"/><Relationship Id="rId4" Type="http://schemas.openxmlformats.org/officeDocument/2006/relationships/image" Target="../media/image6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9.png"/><Relationship Id="rId2" Type="http://schemas.openxmlformats.org/officeDocument/2006/relationships/image" Target="../media/image11.tiff"/><Relationship Id="rId1" Type="http://schemas.openxmlformats.org/officeDocument/2006/relationships/slideLayout" Target="../slideLayouts/slideLayout16.xml"/><Relationship Id="rId4" Type="http://schemas.openxmlformats.org/officeDocument/2006/relationships/image" Target="../media/image71.png"/></Relationships>
</file>

<file path=ppt/slides/_rels/slide2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3.tiff"/><Relationship Id="rId2" Type="http://schemas.openxmlformats.org/officeDocument/2006/relationships/image" Target="../media/image72.tiff"/><Relationship Id="rId1" Type="http://schemas.openxmlformats.org/officeDocument/2006/relationships/slideLayout" Target="../slideLayouts/slideLayout14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f"/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13.xml"/></Relationships>
</file>

<file path=ppt/slides/_rels/slide2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5.png"/><Relationship Id="rId2" Type="http://schemas.openxmlformats.org/officeDocument/2006/relationships/image" Target="../media/image74.jpe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78.svg"/><Relationship Id="rId5" Type="http://schemas.openxmlformats.org/officeDocument/2006/relationships/image" Target="../media/image77.png"/><Relationship Id="rId4" Type="http://schemas.openxmlformats.org/officeDocument/2006/relationships/image" Target="../media/image76.svg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tiff"/><Relationship Id="rId2" Type="http://schemas.openxmlformats.org/officeDocument/2006/relationships/image" Target="../media/image14.tiff"/><Relationship Id="rId1" Type="http://schemas.openxmlformats.org/officeDocument/2006/relationships/slideLayout" Target="../slideLayouts/slideLayout14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tiff"/><Relationship Id="rId3" Type="http://schemas.microsoft.com/office/2007/relationships/hdphoto" Target="../media/hdphoto1.wdp"/><Relationship Id="rId7" Type="http://schemas.openxmlformats.org/officeDocument/2006/relationships/image" Target="../media/image14.tiff"/><Relationship Id="rId2" Type="http://schemas.openxmlformats.org/officeDocument/2006/relationships/image" Target="../media/image16.png"/><Relationship Id="rId1" Type="http://schemas.openxmlformats.org/officeDocument/2006/relationships/slideLayout" Target="../slideLayouts/slideLayout14.xml"/><Relationship Id="rId6" Type="http://schemas.openxmlformats.org/officeDocument/2006/relationships/image" Target="../media/image19.png"/><Relationship Id="rId5" Type="http://schemas.openxmlformats.org/officeDocument/2006/relationships/image" Target="../media/image18.png"/><Relationship Id="rId4" Type="http://schemas.openxmlformats.org/officeDocument/2006/relationships/image" Target="../media/image17.tiff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FF623F94-08FF-74C8-5D5C-AB65F11CB1DC}"/>
              </a:ext>
            </a:extLst>
          </p:cNvPr>
          <p:cNvSpPr/>
          <p:nvPr/>
        </p:nvSpPr>
        <p:spPr>
          <a:xfrm>
            <a:off x="0" y="0"/>
            <a:ext cx="12191280" cy="627379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sz="2000">
              <a:solidFill>
                <a:schemeClr val="tx1"/>
              </a:solidFill>
            </a:endParaRP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5506C470-1950-F196-92DF-A4D2FF9CB775}"/>
              </a:ext>
            </a:extLst>
          </p:cNvPr>
          <p:cNvSpPr/>
          <p:nvPr/>
        </p:nvSpPr>
        <p:spPr>
          <a:xfrm>
            <a:off x="0" y="4419600"/>
            <a:ext cx="12191280" cy="1854197"/>
          </a:xfrm>
          <a:prstGeom prst="rect">
            <a:avLst/>
          </a:prstGeom>
          <a:gradFill>
            <a:gsLst>
              <a:gs pos="0">
                <a:schemeClr val="bg2">
                  <a:lumMod val="20000"/>
                  <a:lumOff val="80000"/>
                </a:schemeClr>
              </a:gs>
              <a:gs pos="76000">
                <a:schemeClr val="bg2">
                  <a:lumMod val="40000"/>
                  <a:lumOff val="60000"/>
                </a:schemeClr>
              </a:gs>
            </a:gsLst>
            <a:lin ang="5400000" scaled="1"/>
          </a:gra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sz="2000">
              <a:solidFill>
                <a:schemeClr val="tx1"/>
              </a:solidFill>
            </a:endParaRPr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96B3F1CC-DFCF-524B-F3E9-B79A0F01C315}"/>
              </a:ext>
            </a:extLst>
          </p:cNvPr>
          <p:cNvGrpSpPr/>
          <p:nvPr/>
        </p:nvGrpSpPr>
        <p:grpSpPr>
          <a:xfrm>
            <a:off x="3932422" y="2365451"/>
            <a:ext cx="4187457" cy="3897614"/>
            <a:chOff x="4011797" y="2365451"/>
            <a:chExt cx="4187457" cy="3897614"/>
          </a:xfrm>
        </p:grpSpPr>
        <p:pic>
          <p:nvPicPr>
            <p:cNvPr id="5" name="Immagine 9">
              <a:extLst>
                <a:ext uri="{FF2B5EF4-FFF2-40B4-BE49-F238E27FC236}">
                  <a16:creationId xmlns:a16="http://schemas.microsoft.com/office/drawing/2014/main" id="{53B42C41-1271-ECDA-0CE6-9E15A5CC1E03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/>
          </p:blipFill>
          <p:spPr>
            <a:xfrm>
              <a:off x="6202124" y="2403551"/>
              <a:ext cx="1997130" cy="3859514"/>
            </a:xfrm>
            <a:prstGeom prst="rect">
              <a:avLst/>
            </a:prstGeom>
          </p:spPr>
        </p:pic>
        <p:pic>
          <p:nvPicPr>
            <p:cNvPr id="9" name="Immagine 2">
              <a:extLst>
                <a:ext uri="{FF2B5EF4-FFF2-40B4-BE49-F238E27FC236}">
                  <a16:creationId xmlns:a16="http://schemas.microsoft.com/office/drawing/2014/main" id="{DB044A2C-E300-A362-1FFC-CF45B05F133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4011797" y="2365451"/>
              <a:ext cx="2190327" cy="3822698"/>
            </a:xfrm>
            <a:prstGeom prst="rect">
              <a:avLst/>
            </a:prstGeom>
          </p:spPr>
        </p:pic>
      </p:grpSp>
      <p:sp>
        <p:nvSpPr>
          <p:cNvPr id="3" name="Title 2">
            <a:extLst>
              <a:ext uri="{FF2B5EF4-FFF2-40B4-BE49-F238E27FC236}">
                <a16:creationId xmlns:a16="http://schemas.microsoft.com/office/drawing/2014/main" id="{08F58484-5BC4-4866-93A0-0360B816257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578411"/>
            <a:ext cx="11233150" cy="1538883"/>
          </a:xfrm>
        </p:spPr>
        <p:txBody>
          <a:bodyPr>
            <a:spAutoFit/>
          </a:bodyPr>
          <a:lstStyle/>
          <a:p>
            <a:pPr rtl="0">
              <a:lnSpc>
                <a:spcPct val="100000"/>
              </a:lnSpc>
            </a:pPr>
            <a:r>
              <a:rPr lang="pt-pt" sz="2000" b="0" i="0" u="none" spc="100" baseline="0" dirty="0">
                <a:latin typeface="Roboto regular"/>
                <a:ea typeface="Roboto regular" panose="02000000000000000000" pitchFamily="2" charset="0"/>
                <a:cs typeface="Roboto regular" panose="02000000000000000000" pitchFamily="2" charset="0"/>
              </a:rPr>
              <a:t>VHC010-VHC011</a:t>
            </a:r>
            <a:br>
              <a:rPr lang="pt-pt"/>
            </a:br>
            <a:r>
              <a:rPr lang="pt-pt"/>
              <a:t>G</a:t>
            </a:r>
            <a:r>
              <a:rPr lang="pt-pt" b="1" i="0" u="none" baseline="0"/>
              <a:t>ama </a:t>
            </a:r>
            <a:r>
              <a:rPr lang="pt-pt" b="1" i="0" u="none" baseline="0" dirty="0"/>
              <a:t>de mini aspiradores industriais</a:t>
            </a:r>
            <a:br>
              <a:rPr lang="pt-pt" dirty="0"/>
            </a:br>
            <a:r>
              <a:rPr lang="pt-pt" b="1" i="0" u="none" baseline="0" dirty="0"/>
              <a:t>acionados por ar comprimido</a:t>
            </a:r>
          </a:p>
        </p:txBody>
      </p:sp>
      <mc:AlternateContent xmlns:mc="http://schemas.openxmlformats.org/markup-compatibility/2006" xmlns:p14="http://schemas.microsoft.com/office/powerpoint/2010/main">
        <mc:Choice Requires="p14">
          <p:contentPart p14:bwMode="auto" r:id="rId4">
            <p14:nvContentPartPr>
              <p14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14:cNvPr>
              <p14:cNvContentPartPr/>
              <p14:nvPr/>
            </p14:nvContentPartPr>
            <p14:xfrm>
              <a:off x="-255960" y="1515154"/>
              <a:ext cx="360" cy="360"/>
            </p14:xfrm>
          </p:contentPart>
        </mc:Choice>
        <mc:Fallback xmlns="">
          <p:pic>
            <p:nvPicPr>
              <p:cNvPr id="4" name="Ink 3">
                <a:extLst>
                  <a:ext uri="{FF2B5EF4-FFF2-40B4-BE49-F238E27FC236}">
                    <a16:creationId xmlns:a16="http://schemas.microsoft.com/office/drawing/2014/main" id="{566939D6-6557-4237-898B-931BC890A7B3}"/>
                  </a:ext>
                </a:extLst>
              </p:cNvPr>
              <p:cNvPicPr/>
              <p:nvPr/>
            </p:nvPicPr>
            <p:blipFill>
              <a:blip r:embed="rId5"/>
              <a:stretch>
                <a:fillRect/>
              </a:stretch>
            </p:blipFill>
            <p:spPr>
              <a:xfrm>
                <a:off x="-264960" y="1506154"/>
                <a:ext cx="18000" cy="18000"/>
              </a:xfrm>
              <a:prstGeom prst="rect">
                <a:avLst/>
              </a:prstGeom>
            </p:spPr>
          </p:pic>
        </mc:Fallback>
      </mc:AlternateContent>
    </p:spTree>
    <p:extLst>
      <p:ext uri="{BB962C8B-B14F-4D97-AF65-F5344CB8AC3E}">
        <p14:creationId xmlns:p14="http://schemas.microsoft.com/office/powerpoint/2010/main" val="41783173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49B6158-5D76-64F3-1935-4524011FB21F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6C3D71B-05BB-6A57-B269-46C564C5C96D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0</a:t>
            </a:fld>
            <a:endParaRPr lang="pt-pt"/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DE26C748-9B3A-AAEC-6349-749C054DBCC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Segmentos de foco e trabalhos a realizar</a:t>
            </a:r>
          </a:p>
        </p:txBody>
      </p:sp>
      <p:sp>
        <p:nvSpPr>
          <p:cNvPr id="53" name="Content Placeholder 9">
            <a:extLst>
              <a:ext uri="{FF2B5EF4-FFF2-40B4-BE49-F238E27FC236}">
                <a16:creationId xmlns:a16="http://schemas.microsoft.com/office/drawing/2014/main" id="{CE1B02DA-E91D-8525-60F0-80BBD9FF039E}"/>
              </a:ext>
            </a:extLst>
          </p:cNvPr>
          <p:cNvSpPr txBox="1">
            <a:spLocks/>
          </p:cNvSpPr>
          <p:nvPr/>
        </p:nvSpPr>
        <p:spPr>
          <a:xfrm>
            <a:off x="9126537" y="1421000"/>
            <a:ext cx="2586038" cy="485280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584000" rIns="144000" bIns="180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pt-pt" sz="1500" b="0" i="0" u="none" spc="10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Indústria AM</a:t>
            </a:r>
          </a:p>
          <a:p>
            <a:pPr marL="0" indent="0" algn="l" rtl="0">
              <a:spcBef>
                <a:spcPts val="0"/>
              </a:spcBef>
              <a:buNone/>
            </a:pPr>
            <a:r>
              <a:rPr lang="pt-pt" sz="900" b="0" i="1" u="none" baseline="0">
                <a:solidFill>
                  <a:schemeClr val="tx2"/>
                </a:solidFill>
              </a:rPr>
              <a:t>Linha de produção, parte do processo</a:t>
            </a:r>
            <a:endParaRPr lang="pt-pt" sz="900" i="1">
              <a:solidFill>
                <a:schemeClr val="tx2"/>
              </a:solidFill>
            </a:endParaRPr>
          </a:p>
          <a:p>
            <a:pPr marL="0" indent="0" algn="l" rtl="0">
              <a:spcBef>
                <a:spcPts val="0"/>
              </a:spcBef>
              <a:buNone/>
            </a:pPr>
            <a:endParaRPr lang="pt-pt" sz="900" i="1">
              <a:solidFill>
                <a:schemeClr val="tx2"/>
              </a:solidFill>
            </a:endParaRPr>
          </a:p>
          <a:p>
            <a:pPr marL="0" indent="0" algn="l" rtl="0">
              <a:spcBef>
                <a:spcPts val="0"/>
              </a:spcBef>
              <a:buNone/>
            </a:pPr>
            <a:endParaRPr lang="pt-pt" sz="900" i="1">
              <a:solidFill>
                <a:schemeClr val="tx2"/>
              </a:solidFill>
            </a:endParaRPr>
          </a:p>
          <a:p>
            <a:pPr marL="0" indent="0" algn="l" rtl="0">
              <a:spcBef>
                <a:spcPts val="0"/>
              </a:spcBef>
              <a:buNone/>
            </a:pPr>
            <a:r>
              <a:rPr lang="pt-pt" sz="9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Trabalho de limpeza típico: 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pt" sz="900" b="0" i="0" u="none" baseline="0"/>
              <a:t>Recolha e limpeza de impressoras </a:t>
            </a:r>
            <a:br>
              <a:rPr lang="pt-pt" sz="900" b="0" i="0" u="none" baseline="0"/>
            </a:br>
            <a:r>
              <a:rPr lang="pt-pt" sz="900" b="0" i="0" u="none" baseline="0"/>
              <a:t>3D de metal, caixa de luvas, </a:t>
            </a:r>
            <a:br>
              <a:rPr lang="pt-pt" sz="900" b="0" i="0" u="none" baseline="0"/>
            </a:br>
            <a:r>
              <a:rPr lang="pt-pt" sz="900" b="0" i="0" u="none" baseline="0"/>
              <a:t>peças acabadas, esvaziamento </a:t>
            </a:r>
            <a:br>
              <a:rPr lang="pt-pt" sz="900" b="0" i="0" u="none" baseline="0"/>
            </a:br>
            <a:r>
              <a:rPr lang="pt-pt" sz="900" b="0" i="0" u="none" baseline="0"/>
              <a:t>de recipientes...</a:t>
            </a:r>
          </a:p>
          <a:p>
            <a:pPr marL="0" lvl="1" indent="0" algn="l" rtl="0">
              <a:spcBef>
                <a:spcPts val="0"/>
              </a:spcBef>
              <a:buNone/>
            </a:pPr>
            <a:endParaRPr lang="pt-pt" sz="900"/>
          </a:p>
          <a:p>
            <a:pPr marL="0" indent="0" algn="l" rtl="0">
              <a:spcBef>
                <a:spcPts val="0"/>
              </a:spcBef>
              <a:buNone/>
            </a:pPr>
            <a:r>
              <a:rPr lang="pt-pt" sz="9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Principais características: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pt" sz="900" b="0" i="0" u="none" baseline="0"/>
              <a:t>Certificado para poeiras combustíveis condutoras, seguro com invólucro IP65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pt" sz="900" b="0" i="0" u="none" baseline="0"/>
              <a:t>Eliminação do sistema de saco </a:t>
            </a:r>
            <a:br>
              <a:rPr lang="pt-pt" sz="900" b="0" i="0" u="none" baseline="0"/>
            </a:br>
            <a:r>
              <a:rPr lang="pt-pt" sz="900" b="0" i="0" u="none" baseline="0"/>
              <a:t>de segurança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pt" sz="900" b="0" i="0" u="none" baseline="0"/>
              <a:t>Opção de filtros ULPA a jusante </a:t>
            </a:r>
            <a:br>
              <a:rPr lang="pt-pt" sz="900" b="0" i="0" u="none" baseline="0"/>
            </a:br>
            <a:r>
              <a:rPr lang="pt-pt" sz="900" b="0" i="0" u="none" baseline="0"/>
              <a:t>disponível</a:t>
            </a:r>
          </a:p>
        </p:txBody>
      </p:sp>
      <p:pic>
        <p:nvPicPr>
          <p:cNvPr id="55" name="Immagine 2" descr="Immagine che contiene interno, muro, persona, vestiti&#10;&#10;Descrizione generata automaticamente">
            <a:extLst>
              <a:ext uri="{FF2B5EF4-FFF2-40B4-BE49-F238E27FC236}">
                <a16:creationId xmlns:a16="http://schemas.microsoft.com/office/drawing/2014/main" id="{932FCFFD-B45C-BF1D-21CA-134CD850D5FF}"/>
              </a:ext>
            </a:extLst>
          </p:cNvPr>
          <p:cNvPicPr>
            <a:picLocks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26537" y="1421000"/>
            <a:ext cx="2584800" cy="1483200"/>
          </a:xfrm>
          <a:prstGeom prst="rect">
            <a:avLst/>
          </a:prstGeom>
        </p:spPr>
      </p:pic>
      <p:sp>
        <p:nvSpPr>
          <p:cNvPr id="56" name="Content Placeholder 8">
            <a:extLst>
              <a:ext uri="{FF2B5EF4-FFF2-40B4-BE49-F238E27FC236}">
                <a16:creationId xmlns:a16="http://schemas.microsoft.com/office/drawing/2014/main" id="{C3807E3C-ED38-54A6-018D-EC740AF09A1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62208" y="1421000"/>
            <a:ext cx="2584800" cy="4852800"/>
          </a:xfrm>
        </p:spPr>
        <p:txBody>
          <a:bodyPr lIns="144000" tIns="1584000" rIns="144000" bIns="180000"/>
          <a:lstStyle/>
          <a:p>
            <a:pPr marL="0" indent="0" algn="l" rtl="0">
              <a:buNone/>
            </a:pPr>
            <a:r>
              <a:rPr lang="pt-pt" sz="1500" b="0" i="0" u="none" spc="10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Indústria química</a:t>
            </a:r>
            <a:endParaRPr lang="pt-pt" sz="1500" spc="10">
              <a:solidFill>
                <a:schemeClr val="accent3"/>
              </a:solidFill>
              <a:latin typeface="+mj-lt"/>
            </a:endParaRPr>
          </a:p>
          <a:p>
            <a:pPr marL="0" indent="0" algn="l" rtl="0">
              <a:spcBef>
                <a:spcPts val="0"/>
              </a:spcBef>
              <a:buNone/>
            </a:pPr>
            <a:r>
              <a:rPr lang="pt-pt" sz="900" b="0" i="1" u="none" baseline="0">
                <a:solidFill>
                  <a:schemeClr val="tx2"/>
                </a:solidFill>
              </a:rPr>
              <a:t>Laboratórios e produção</a:t>
            </a:r>
          </a:p>
          <a:p>
            <a:pPr marL="0" indent="0" algn="l" rtl="0">
              <a:spcBef>
                <a:spcPts val="0"/>
              </a:spcBef>
              <a:buNone/>
            </a:pPr>
            <a:endParaRPr lang="pt-pt" sz="900" i="1">
              <a:solidFill>
                <a:schemeClr val="tx2"/>
              </a:solidFill>
            </a:endParaRPr>
          </a:p>
          <a:p>
            <a:pPr marL="0" indent="0" algn="l" rtl="0">
              <a:spcBef>
                <a:spcPts val="0"/>
              </a:spcBef>
              <a:buNone/>
            </a:pPr>
            <a:endParaRPr lang="pt-pt" sz="900" i="1">
              <a:solidFill>
                <a:schemeClr val="tx2"/>
              </a:solidFill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pt-pt" sz="9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Trabalho de limpeza típico: 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pt" sz="900" b="0" i="0" u="none" baseline="0"/>
              <a:t>Recolha de pós em ambientes </a:t>
            </a:r>
            <a:br>
              <a:rPr lang="pt-pt" sz="900" b="0" i="0" u="none" baseline="0"/>
            </a:br>
            <a:r>
              <a:rPr lang="pt-pt" sz="900" b="0" i="0" u="none" baseline="0"/>
              <a:t>com solventes, lotes de teste…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pt" sz="900" b="0" i="0" u="none" baseline="0"/>
              <a:t>Limpeza de pavimentos, secretárias, superfícies</a:t>
            </a:r>
            <a:endParaRPr lang="pt-pt" sz="900"/>
          </a:p>
          <a:p>
            <a:pPr marL="355600" lvl="1" indent="-177800" algn="l" rtl="0">
              <a:lnSpc>
                <a:spcPct val="120000"/>
              </a:lnSpc>
              <a:spcBef>
                <a:spcPts val="0"/>
              </a:spcBef>
            </a:pPr>
            <a:endParaRPr lang="pt-pt" sz="900"/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pt-pt" sz="9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Principais características: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pt" sz="900" b="0" i="0" u="none" baseline="0"/>
              <a:t>Para zonas Atex Z1 e para poeiras combustíveis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pt" sz="900" b="0" i="0" u="none" baseline="0"/>
              <a:t>Filtro de longa duração e sem consumíveis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pt" sz="900" b="0" i="0" u="none" baseline="0"/>
              <a:t>Depósito lavável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pt" sz="900" b="0" i="0" u="none" baseline="0"/>
              <a:t>Opção de filtros ULPA a jusante </a:t>
            </a:r>
            <a:br>
              <a:rPr lang="pt-pt" sz="900" b="0" i="0" u="none" baseline="0"/>
            </a:br>
            <a:r>
              <a:rPr lang="pt-pt" sz="900" b="0" i="0" u="none" baseline="0"/>
              <a:t>disponível</a:t>
            </a:r>
          </a:p>
        </p:txBody>
      </p:sp>
      <p:pic>
        <p:nvPicPr>
          <p:cNvPr id="58" name="Immagine 24">
            <a:extLst>
              <a:ext uri="{FF2B5EF4-FFF2-40B4-BE49-F238E27FC236}">
                <a16:creationId xmlns:a16="http://schemas.microsoft.com/office/drawing/2014/main" id="{7F0BA242-C7DE-B0AB-58CA-92D9308D59E2}"/>
              </a:ext>
            </a:extLst>
          </p:cNvPr>
          <p:cNvPicPr>
            <a:picLocks/>
          </p:cNvPicPr>
          <p:nvPr/>
        </p:nvPicPr>
        <p:blipFill rotWithShape="1"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362208" y="1420999"/>
            <a:ext cx="2586039" cy="1483200"/>
          </a:xfrm>
          <a:prstGeom prst="rect">
            <a:avLst/>
          </a:prstGeom>
        </p:spPr>
      </p:pic>
      <p:sp>
        <p:nvSpPr>
          <p:cNvPr id="59" name="Content Placeholder 13">
            <a:extLst>
              <a:ext uri="{FF2B5EF4-FFF2-40B4-BE49-F238E27FC236}">
                <a16:creationId xmlns:a16="http://schemas.microsoft.com/office/drawing/2014/main" id="{10911D24-5D10-52A8-B62D-87928E7BFE5C}"/>
              </a:ext>
            </a:extLst>
          </p:cNvPr>
          <p:cNvSpPr txBox="1">
            <a:spLocks/>
          </p:cNvSpPr>
          <p:nvPr/>
        </p:nvSpPr>
        <p:spPr>
          <a:xfrm>
            <a:off x="479425" y="1422627"/>
            <a:ext cx="2586038" cy="4851173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584000" rIns="144000" bIns="180000" rtlCol="0" anchor="t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pt-pt" sz="1500" b="0" i="0" u="none" spc="10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Componentes eletrónicos</a:t>
            </a:r>
          </a:p>
          <a:p>
            <a:pPr marL="0" indent="0" algn="l" rtl="0">
              <a:spcBef>
                <a:spcPts val="0"/>
              </a:spcBef>
              <a:buNone/>
            </a:pPr>
            <a:r>
              <a:rPr lang="pt-pt" sz="900" b="0" i="1" u="none" baseline="0">
                <a:solidFill>
                  <a:schemeClr val="tx2"/>
                </a:solidFill>
                <a:latin typeface="+mn-lt"/>
                <a:ea typeface="+mn-lt"/>
                <a:cs typeface="+mn-lt"/>
              </a:rPr>
              <a:t>Produção de placas de circuito (PCB), produção de componentes</a:t>
            </a:r>
            <a:endParaRPr lang="pt-pt" sz="900" b="0" i="1" dirty="0">
              <a:solidFill>
                <a:schemeClr val="tx2"/>
              </a:solidFill>
              <a:ea typeface="Roboto Light"/>
              <a:cs typeface="Roboto Light"/>
            </a:endParaRPr>
          </a:p>
          <a:p>
            <a:pPr marL="0" indent="0" algn="l" rtl="0">
              <a:spcBef>
                <a:spcPts val="0"/>
              </a:spcBef>
              <a:buNone/>
            </a:pPr>
            <a:endParaRPr lang="pt-pt" sz="900">
              <a:latin typeface="Roboto Bold" panose="02000000000000000000" pitchFamily="2" charset="0"/>
              <a:ea typeface="Roboto Bold" panose="02000000000000000000" pitchFamily="2" charset="0"/>
            </a:endParaRPr>
          </a:p>
          <a:p>
            <a:pPr marL="0" indent="0" algn="l" rtl="0">
              <a:spcBef>
                <a:spcPts val="0"/>
              </a:spcBef>
              <a:buNone/>
            </a:pPr>
            <a:r>
              <a:rPr lang="pt-pt" sz="900" b="0" i="0" u="none" baseline="0">
                <a:latin typeface="Roboto Bold"/>
                <a:ea typeface="Roboto Bold"/>
                <a:cs typeface="Roboto Bold"/>
              </a:rPr>
              <a:t>Trabalho de limpeza típico: </a:t>
            </a:r>
          </a:p>
          <a:p>
            <a:pPr marL="161925" lvl="1" indent="-161925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pt" sz="900" b="0" i="0" u="none" baseline="0"/>
              <a:t>Limpeza de bancadas de trabalho </a:t>
            </a:r>
            <a:br>
              <a:rPr lang="pt-pt" sz="900" b="0" i="0" u="none" baseline="0"/>
            </a:br>
            <a:r>
              <a:rPr lang="pt-pt" sz="900" b="0" i="0" u="none" baseline="0"/>
              <a:t>e áreas de trabalho com linhas pneumáticas existentes</a:t>
            </a:r>
            <a:endParaRPr lang="pt-pt" sz="900" dirty="0">
              <a:ea typeface="Roboto Light"/>
              <a:cs typeface="Roboto Light"/>
            </a:endParaRPr>
          </a:p>
          <a:p>
            <a:pPr marL="161925" lvl="1" indent="-161925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pt" sz="900" b="0" i="0" u="none" baseline="0"/>
              <a:t>Limpeza de pavimentos e superfícies</a:t>
            </a:r>
            <a:endParaRPr lang="pt-pt" sz="900">
              <a:ea typeface="Roboto Light"/>
              <a:cs typeface="Roboto Light"/>
            </a:endParaRPr>
          </a:p>
          <a:p>
            <a:pPr marL="355600" lvl="1" indent="-177800" algn="l" rtl="0">
              <a:spcBef>
                <a:spcPts val="0"/>
              </a:spcBef>
            </a:pPr>
            <a:endParaRPr lang="pt-pt" sz="900"/>
          </a:p>
          <a:p>
            <a:pPr marL="0" indent="0" algn="l" rtl="0">
              <a:spcBef>
                <a:spcPts val="0"/>
              </a:spcBef>
              <a:buNone/>
            </a:pPr>
            <a:r>
              <a:rPr lang="pt-pt" sz="900" b="0" i="0" u="none" baseline="0">
                <a:latin typeface="Roboto Bold"/>
                <a:ea typeface="Roboto Bold"/>
                <a:cs typeface="Roboto Bold"/>
              </a:rPr>
              <a:t>Principais características:</a:t>
            </a:r>
          </a:p>
          <a:p>
            <a:pPr marL="161925" lvl="1" indent="-161925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pt" sz="900" b="0" i="0" u="none" baseline="0"/>
              <a:t>Sem componentes elétricos</a:t>
            </a:r>
            <a:endParaRPr lang="pt-pt" sz="900" dirty="0">
              <a:ea typeface="Roboto Light"/>
              <a:cs typeface="Roboto Light"/>
            </a:endParaRPr>
          </a:p>
          <a:p>
            <a:pPr marL="161925" lvl="1" indent="-161925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pt" sz="900" b="0" i="0" u="none" baseline="0"/>
              <a:t>Fácil de ligar à distribuição </a:t>
            </a:r>
            <a:br>
              <a:rPr lang="pt-pt" sz="900" b="0" i="0" u="none" baseline="0"/>
            </a:br>
            <a:r>
              <a:rPr lang="pt-pt" sz="900" b="0" i="0" u="none" baseline="0"/>
              <a:t>pneumática existente</a:t>
            </a:r>
            <a:endParaRPr lang="pt-pt" sz="900" dirty="0">
              <a:ea typeface="Roboto Light"/>
              <a:cs typeface="Roboto Light"/>
            </a:endParaRPr>
          </a:p>
          <a:p>
            <a:pPr marL="161925" lvl="1" indent="-161925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pt" sz="900" b="0" i="0" u="none" baseline="0"/>
              <a:t>Evitar a formação de faíscas </a:t>
            </a:r>
            <a:endParaRPr lang="pt-pt" sz="900" dirty="0">
              <a:ea typeface="Roboto Light"/>
              <a:cs typeface="Roboto Light"/>
            </a:endParaRPr>
          </a:p>
        </p:txBody>
      </p:sp>
      <p:sp>
        <p:nvSpPr>
          <p:cNvPr id="62" name="Content Placeholder 11">
            <a:extLst>
              <a:ext uri="{FF2B5EF4-FFF2-40B4-BE49-F238E27FC236}">
                <a16:creationId xmlns:a16="http://schemas.microsoft.com/office/drawing/2014/main" id="{4D760DD2-B42B-D32D-1614-450446C7E9B7}"/>
              </a:ext>
            </a:extLst>
          </p:cNvPr>
          <p:cNvSpPr txBox="1">
            <a:spLocks/>
          </p:cNvSpPr>
          <p:nvPr/>
        </p:nvSpPr>
        <p:spPr>
          <a:xfrm>
            <a:off x="6243753" y="1421000"/>
            <a:ext cx="2586038" cy="485280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584000" rIns="144000" bIns="180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pt-pt" sz="1500" b="0" i="0" u="none" spc="10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Farmacêutico</a:t>
            </a:r>
          </a:p>
          <a:p>
            <a:pPr marL="0" indent="0" algn="l" rtl="0">
              <a:spcBef>
                <a:spcPts val="0"/>
              </a:spcBef>
              <a:buNone/>
            </a:pPr>
            <a:r>
              <a:rPr lang="pt-pt" sz="900" b="0" i="1" u="none" baseline="0">
                <a:solidFill>
                  <a:schemeClr val="tx2"/>
                </a:solidFill>
              </a:rPr>
              <a:t>Embalagem primária e secundária </a:t>
            </a:r>
          </a:p>
          <a:p>
            <a:pPr marL="0" indent="0" algn="l" rtl="0">
              <a:spcBef>
                <a:spcPts val="0"/>
              </a:spcBef>
              <a:buNone/>
            </a:pPr>
            <a:endParaRPr lang="pt-pt" sz="900" i="1">
              <a:solidFill>
                <a:schemeClr val="tx2"/>
              </a:solidFill>
            </a:endParaRPr>
          </a:p>
          <a:p>
            <a:pPr marL="0" indent="0" algn="l" rtl="0">
              <a:spcBef>
                <a:spcPts val="0"/>
              </a:spcBef>
              <a:buNone/>
            </a:pPr>
            <a:endParaRPr lang="pt-pt" sz="900" i="1">
              <a:solidFill>
                <a:schemeClr val="tx2"/>
              </a:solidFill>
            </a:endParaRPr>
          </a:p>
          <a:p>
            <a:pPr marL="0" indent="0" algn="l" rtl="0">
              <a:spcBef>
                <a:spcPts val="0"/>
              </a:spcBef>
              <a:buNone/>
            </a:pPr>
            <a:r>
              <a:rPr lang="pt-pt" sz="9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Trabalho de limpeza típico: 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pt" sz="900" b="0" i="0" u="none" baseline="0"/>
              <a:t>Limpeza de máquinas ou equipamentos de processamento farmacêutico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pt" sz="900" b="0" i="0" u="none" baseline="0"/>
              <a:t>Limpeza de equipamentos de laboratório </a:t>
            </a:r>
            <a:br>
              <a:rPr lang="pt-pt" sz="900"/>
            </a:br>
            <a:r>
              <a:rPr lang="pt-pt" sz="900" b="0" i="0" u="none" baseline="0"/>
              <a:t>nas áreas Z1</a:t>
            </a:r>
          </a:p>
          <a:p>
            <a:pPr marL="355600" lvl="1" indent="-177800" algn="l" rtl="0">
              <a:spcBef>
                <a:spcPts val="0"/>
              </a:spcBef>
            </a:pPr>
            <a:endParaRPr lang="pt-pt" sz="900"/>
          </a:p>
          <a:p>
            <a:pPr marL="0" indent="0" algn="l" rtl="0">
              <a:spcBef>
                <a:spcPts val="0"/>
              </a:spcBef>
              <a:buNone/>
            </a:pPr>
            <a:r>
              <a:rPr lang="pt-pt" sz="9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Principais características: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pt" sz="900" b="0" i="0" u="none" baseline="0"/>
              <a:t>Corpo em aço inoxidável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pt" sz="900" b="0" i="0" u="none" baseline="0"/>
              <a:t>Filtração HEPA 14 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pt" sz="900" b="0" i="0" u="none" baseline="0"/>
              <a:t>Não contamina o ambiente de trabalho</a:t>
            </a:r>
          </a:p>
          <a:p>
            <a:pPr marL="162000" lvl="1" indent="-162000" algn="l" rtl="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pt-pt" sz="900" b="0" i="0" u="none" baseline="0"/>
              <a:t>Opção de filtros ULPA a jusante </a:t>
            </a:r>
            <a:br>
              <a:rPr lang="pt-pt" sz="900" b="0" i="0" u="none" baseline="0"/>
            </a:br>
            <a:r>
              <a:rPr lang="pt-pt" sz="900" b="0" i="0" u="none" baseline="0"/>
              <a:t>disponível</a:t>
            </a:r>
          </a:p>
        </p:txBody>
      </p:sp>
      <p:pic>
        <p:nvPicPr>
          <p:cNvPr id="64" name="Immagine 14">
            <a:extLst>
              <a:ext uri="{FF2B5EF4-FFF2-40B4-BE49-F238E27FC236}">
                <a16:creationId xmlns:a16="http://schemas.microsoft.com/office/drawing/2014/main" id="{B1A53928-8945-9D82-5F6A-5771DAA31C1C}"/>
              </a:ext>
            </a:extLst>
          </p:cNvPr>
          <p:cNvPicPr>
            <a:picLocks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43753" y="1420999"/>
            <a:ext cx="2584800" cy="1483200"/>
          </a:xfrm>
          <a:prstGeom prst="rect">
            <a:avLst/>
          </a:prstGeom>
        </p:spPr>
      </p:pic>
      <p:pic>
        <p:nvPicPr>
          <p:cNvPr id="2" name="Picture 1" descr="People in white protective suits in a room with computers&#10;&#10;AI-generated content may be incorrect.">
            <a:extLst>
              <a:ext uri="{FF2B5EF4-FFF2-40B4-BE49-F238E27FC236}">
                <a16:creationId xmlns:a16="http://schemas.microsoft.com/office/drawing/2014/main" id="{DA67A934-1433-85D2-9E93-CAF53A10B3E7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82186" y="1419018"/>
            <a:ext cx="2591630" cy="147996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36230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9A2A9FF-337F-B60C-5B7E-F97BE6EE9C2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3B0247A9-C447-9073-E477-4A7EFEBCE1F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3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82349EBD-E83D-5CFC-77C4-9D8B169AAC5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905581"/>
            <a:ext cx="6536672" cy="3355393"/>
          </a:xfrm>
        </p:spPr>
        <p:txBody>
          <a:bodyPr/>
          <a:lstStyle/>
          <a:p>
            <a:pPr algn="l" rtl="0"/>
            <a:r>
              <a:rPr lang="pt-pt" b="0" i="0" u="none" baseline="0"/>
              <a:t>Principais características e vantagens 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EA4978C3-7ADD-543C-1587-2A61DC1B630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B28395D7-B17F-6EF9-B692-4F4A7888F4A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1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7452664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49CAC15-17D3-C99E-632B-E66DDA011048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pt-pt" b="0" i="0" u="none" baseline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5673AA93-DD71-1142-9A68-9D1652A26AF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6DE233E-BBA0-AC03-C241-98138EAC4123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2</a:t>
            </a:fld>
            <a:endParaRPr lang="pt-p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C49861A-1611-9A31-E9EC-41F3ADFA6D8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algn="l" rtl="0"/>
            <a:r>
              <a:rPr lang="pt-pt" b="0" i="0" u="none" baseline="0"/>
              <a:t>VHC011 Z1 EXA / EXP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BEE4DDF-CF1F-1330-4072-24443913425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Principais</a:t>
            </a:r>
            <a:r>
              <a:rPr lang="pt-pt" b="0" i="0" u="none" baseline="0"/>
              <a:t> </a:t>
            </a:r>
            <a:r>
              <a:rPr lang="pt-pt" b="1" i="0" u="none" baseline="0"/>
              <a:t>características</a:t>
            </a:r>
            <a:r>
              <a:rPr lang="pt-pt" b="0" i="0" u="none" baseline="0"/>
              <a:t> </a:t>
            </a:r>
            <a:r>
              <a:rPr lang="pt-pt" b="1" i="0" u="none" baseline="0"/>
              <a:t>e</a:t>
            </a:r>
            <a:r>
              <a:rPr lang="pt-pt" b="0" i="0" u="none" baseline="0"/>
              <a:t> </a:t>
            </a:r>
            <a:r>
              <a:rPr lang="pt-pt" b="1" i="0" u="none" baseline="0"/>
              <a:t>design</a:t>
            </a:r>
          </a:p>
        </p:txBody>
      </p:sp>
      <p:pic>
        <p:nvPicPr>
          <p:cNvPr id="10" name="Immagine 16">
            <a:extLst>
              <a:ext uri="{FF2B5EF4-FFF2-40B4-BE49-F238E27FC236}">
                <a16:creationId xmlns:a16="http://schemas.microsoft.com/office/drawing/2014/main" id="{43138B2F-2800-B494-69D9-E1EF85A57B1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8724336" y="4165735"/>
            <a:ext cx="1953753" cy="2117589"/>
          </a:xfrm>
          <a:prstGeom prst="rect">
            <a:avLst/>
          </a:prstGeom>
        </p:spPr>
      </p:pic>
      <p:pic>
        <p:nvPicPr>
          <p:cNvPr id="12" name="Immagine 9">
            <a:extLst>
              <a:ext uri="{FF2B5EF4-FFF2-40B4-BE49-F238E27FC236}">
                <a16:creationId xmlns:a16="http://schemas.microsoft.com/office/drawing/2014/main" id="{02BA285B-3BBD-3640-0D1C-EA2C09ABA58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3747777" y="1016283"/>
            <a:ext cx="2355494" cy="5335336"/>
          </a:xfrm>
          <a:prstGeom prst="rect">
            <a:avLst/>
          </a:prstGeom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7214D93E-4ACE-B663-DC0F-C03AB71434CC}"/>
              </a:ext>
            </a:extLst>
          </p:cNvPr>
          <p:cNvSpPr/>
          <p:nvPr/>
        </p:nvSpPr>
        <p:spPr>
          <a:xfrm>
            <a:off x="479421" y="1649860"/>
            <a:ext cx="3373156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/>
              <a:t>Indicador de vácuo</a:t>
            </a:r>
            <a:r>
              <a:rPr lang="pt-pt" sz="1100" b="0" i="0" u="sng" baseline="0"/>
              <a:t> </a:t>
            </a:r>
            <a:r>
              <a:rPr lang="pt-pt" sz="1100" b="0" i="0" u="none" baseline="0"/>
              <a:t>para uma monitorização constante do desempenho e da eficiência de filtração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F689CD67-D690-843C-C001-554A696285EA}"/>
              </a:ext>
            </a:extLst>
          </p:cNvPr>
          <p:cNvSpPr/>
          <p:nvPr/>
        </p:nvSpPr>
        <p:spPr>
          <a:xfrm>
            <a:off x="479422" y="2549026"/>
            <a:ext cx="2522422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/>
              <a:t>Sistema de filtro de limpeza PullClean</a:t>
            </a:r>
            <a:r>
              <a:rPr lang="pt-PT" sz="1100" b="0" i="0" u="none" baseline="0"/>
              <a:t>™</a:t>
            </a:r>
            <a:r>
              <a:rPr lang="pt-pt" sz="1100" b="0" i="0" u="none" baseline="0"/>
              <a:t>, operação fácil e eficiente</a:t>
            </a:r>
          </a:p>
        </p:txBody>
      </p:sp>
      <p:sp>
        <p:nvSpPr>
          <p:cNvPr id="15" name="Rectangle 14">
            <a:extLst>
              <a:ext uri="{FF2B5EF4-FFF2-40B4-BE49-F238E27FC236}">
                <a16:creationId xmlns:a16="http://schemas.microsoft.com/office/drawing/2014/main" id="{9536DBFD-9D5A-4E7B-BCD9-DDB9023F4DC8}"/>
              </a:ext>
            </a:extLst>
          </p:cNvPr>
          <p:cNvSpPr/>
          <p:nvPr/>
        </p:nvSpPr>
        <p:spPr>
          <a:xfrm>
            <a:off x="479422" y="3135419"/>
            <a:ext cx="3346971" cy="889346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/>
              <a:t>Filtros de elevada eficiência: Classe M (standard) </a:t>
            </a:r>
            <a:br>
              <a:rPr lang="pt-pt" sz="1100" b="0" i="0" u="none" baseline="0"/>
            </a:br>
            <a:r>
              <a:rPr lang="pt-pt" sz="1100" b="0" i="0" u="none" baseline="0"/>
              <a:t>ou PTFE; filtro HEPA 14 a montante opcional 99,995% </a:t>
            </a:r>
            <a:br>
              <a:rPr lang="pt-pt" sz="1100"/>
            </a:br>
            <a:r>
              <a:rPr lang="pt-pt" sz="1100" b="0" i="0" u="none" baseline="0"/>
              <a:t>0,1 – 0,2 mícrones (opcional) todos os filtros são antiestáticos </a:t>
            </a:r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id="{DDD6CEB2-091C-1F9B-7039-77CE606475D1}"/>
              </a:ext>
            </a:extLst>
          </p:cNvPr>
          <p:cNvSpPr/>
          <p:nvPr/>
        </p:nvSpPr>
        <p:spPr>
          <a:xfrm>
            <a:off x="479422" y="4398596"/>
            <a:ext cx="2962085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/>
              <a:t>Ligação segura e à prova de erros para acessórios ATEX certificados Ø40 EXA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B08C3FA5-66B3-5B89-0CD6-AD0F5059D254}"/>
              </a:ext>
            </a:extLst>
          </p:cNvPr>
          <p:cNvSpPr/>
          <p:nvPr/>
        </p:nvSpPr>
        <p:spPr>
          <a:xfrm>
            <a:off x="479423" y="5112955"/>
            <a:ext cx="2827800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/>
              <a:t>Depósito amovível de 15 L AISI304, fácil de lavar graças à base com rodas amovível </a:t>
            </a:r>
          </a:p>
        </p:txBody>
      </p:sp>
      <p:sp>
        <p:nvSpPr>
          <p:cNvPr id="18" name="Rectangle 17">
            <a:extLst>
              <a:ext uri="{FF2B5EF4-FFF2-40B4-BE49-F238E27FC236}">
                <a16:creationId xmlns:a16="http://schemas.microsoft.com/office/drawing/2014/main" id="{9E8CFB75-CD20-CF31-AE13-FDC444A80626}"/>
              </a:ext>
            </a:extLst>
          </p:cNvPr>
          <p:cNvSpPr/>
          <p:nvPr/>
        </p:nvSpPr>
        <p:spPr>
          <a:xfrm>
            <a:off x="479422" y="5990958"/>
            <a:ext cx="3155319" cy="279948"/>
          </a:xfrm>
          <a:prstGeom prst="rect">
            <a:avLst/>
          </a:prstGeom>
        </p:spPr>
        <p:txBody>
          <a:bodyPr wrap="square" lIns="0" tIns="0" rIns="0" bIns="9144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/>
              <a:t>Rodas antiestáticas</a:t>
            </a:r>
          </a:p>
        </p:txBody>
      </p:sp>
      <p:cxnSp>
        <p:nvCxnSpPr>
          <p:cNvPr id="19" name="Straight Arrow Connector 38">
            <a:extLst>
              <a:ext uri="{FF2B5EF4-FFF2-40B4-BE49-F238E27FC236}">
                <a16:creationId xmlns:a16="http://schemas.microsoft.com/office/drawing/2014/main" id="{BA2AA451-7E99-441F-18A6-EA0854ABD674}"/>
              </a:ext>
            </a:extLst>
          </p:cNvPr>
          <p:cNvCxnSpPr>
            <a:cxnSpLocks/>
          </p:cNvCxnSpPr>
          <p:nvPr/>
        </p:nvCxnSpPr>
        <p:spPr>
          <a:xfrm flipV="1">
            <a:off x="475521" y="6072188"/>
            <a:ext cx="3739292" cy="202258"/>
          </a:xfrm>
          <a:prstGeom prst="bentConnector3">
            <a:avLst>
              <a:gd name="adj1" fmla="val 100054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Straight Arrow Connector 19">
            <a:extLst>
              <a:ext uri="{FF2B5EF4-FFF2-40B4-BE49-F238E27FC236}">
                <a16:creationId xmlns:a16="http://schemas.microsoft.com/office/drawing/2014/main" id="{2B2767FE-1B41-03FD-B1A8-09A4C62F1B34}"/>
              </a:ext>
            </a:extLst>
          </p:cNvPr>
          <p:cNvCxnSpPr>
            <a:cxnSpLocks/>
          </p:cNvCxnSpPr>
          <p:nvPr/>
        </p:nvCxnSpPr>
        <p:spPr>
          <a:xfrm>
            <a:off x="478619" y="2128083"/>
            <a:ext cx="4020682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Arrow Connector 20">
            <a:extLst>
              <a:ext uri="{FF2B5EF4-FFF2-40B4-BE49-F238E27FC236}">
                <a16:creationId xmlns:a16="http://schemas.microsoft.com/office/drawing/2014/main" id="{5E743B5B-B174-CC42-3758-A742DF0DA452}"/>
              </a:ext>
            </a:extLst>
          </p:cNvPr>
          <p:cNvCxnSpPr>
            <a:cxnSpLocks/>
          </p:cNvCxnSpPr>
          <p:nvPr/>
        </p:nvCxnSpPr>
        <p:spPr>
          <a:xfrm>
            <a:off x="478619" y="3037138"/>
            <a:ext cx="4093381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Arrow Connector 21">
            <a:extLst>
              <a:ext uri="{FF2B5EF4-FFF2-40B4-BE49-F238E27FC236}">
                <a16:creationId xmlns:a16="http://schemas.microsoft.com/office/drawing/2014/main" id="{8570A07C-C149-A5D7-398C-D9F9CB9E2AE8}"/>
              </a:ext>
            </a:extLst>
          </p:cNvPr>
          <p:cNvCxnSpPr>
            <a:cxnSpLocks/>
          </p:cNvCxnSpPr>
          <p:nvPr/>
        </p:nvCxnSpPr>
        <p:spPr>
          <a:xfrm>
            <a:off x="475521" y="4024399"/>
            <a:ext cx="445842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3" name="Straight Arrow Connector 22">
            <a:extLst>
              <a:ext uri="{FF2B5EF4-FFF2-40B4-BE49-F238E27FC236}">
                <a16:creationId xmlns:a16="http://schemas.microsoft.com/office/drawing/2014/main" id="{BE45C3AF-80E0-FE1F-2ABA-F5AF1E7C7200}"/>
              </a:ext>
            </a:extLst>
          </p:cNvPr>
          <p:cNvCxnSpPr>
            <a:cxnSpLocks/>
          </p:cNvCxnSpPr>
          <p:nvPr/>
        </p:nvCxnSpPr>
        <p:spPr>
          <a:xfrm>
            <a:off x="475521" y="4879811"/>
            <a:ext cx="402378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Arrow Connector 38">
            <a:extLst>
              <a:ext uri="{FF2B5EF4-FFF2-40B4-BE49-F238E27FC236}">
                <a16:creationId xmlns:a16="http://schemas.microsoft.com/office/drawing/2014/main" id="{9372A48B-6D0B-89B0-132F-364018304DE1}"/>
              </a:ext>
            </a:extLst>
          </p:cNvPr>
          <p:cNvCxnSpPr>
            <a:cxnSpLocks/>
          </p:cNvCxnSpPr>
          <p:nvPr/>
        </p:nvCxnSpPr>
        <p:spPr>
          <a:xfrm flipV="1">
            <a:off x="475521" y="5422136"/>
            <a:ext cx="4400276" cy="178949"/>
          </a:xfrm>
          <a:prstGeom prst="bentConnector3">
            <a:avLst>
              <a:gd name="adj1" fmla="val 99976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5" name="Straight Arrow Connector 24">
            <a:extLst>
              <a:ext uri="{FF2B5EF4-FFF2-40B4-BE49-F238E27FC236}">
                <a16:creationId xmlns:a16="http://schemas.microsoft.com/office/drawing/2014/main" id="{F5A457C7-E66C-2866-8BEA-AF59AAF2ADFC}"/>
              </a:ext>
            </a:extLst>
          </p:cNvPr>
          <p:cNvCxnSpPr>
            <a:cxnSpLocks/>
          </p:cNvCxnSpPr>
          <p:nvPr/>
        </p:nvCxnSpPr>
        <p:spPr>
          <a:xfrm>
            <a:off x="4146876" y="3312773"/>
            <a:ext cx="787074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094425BA-6040-3645-2585-D799FEE4DA4F}"/>
              </a:ext>
            </a:extLst>
          </p:cNvPr>
          <p:cNvCxnSpPr>
            <a:cxnSpLocks/>
          </p:cNvCxnSpPr>
          <p:nvPr/>
        </p:nvCxnSpPr>
        <p:spPr>
          <a:xfrm>
            <a:off x="4146876" y="3312773"/>
            <a:ext cx="0" cy="711626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Rectangle 26">
            <a:extLst>
              <a:ext uri="{FF2B5EF4-FFF2-40B4-BE49-F238E27FC236}">
                <a16:creationId xmlns:a16="http://schemas.microsoft.com/office/drawing/2014/main" id="{06BDA674-C498-5979-BCF0-ED6169D4FB57}"/>
              </a:ext>
            </a:extLst>
          </p:cNvPr>
          <p:cNvSpPr/>
          <p:nvPr/>
        </p:nvSpPr>
        <p:spPr>
          <a:xfrm>
            <a:off x="6103271" y="2244966"/>
            <a:ext cx="2173110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Forma arredondada para uma limpeza fácil da superfície total </a:t>
            </a:r>
          </a:p>
        </p:txBody>
      </p:sp>
      <p:sp>
        <p:nvSpPr>
          <p:cNvPr id="28" name="Rectangle 27">
            <a:extLst>
              <a:ext uri="{FF2B5EF4-FFF2-40B4-BE49-F238E27FC236}">
                <a16:creationId xmlns:a16="http://schemas.microsoft.com/office/drawing/2014/main" id="{0E1F9C06-7863-7068-861E-1080C10D6CAD}"/>
              </a:ext>
            </a:extLst>
          </p:cNvPr>
          <p:cNvSpPr/>
          <p:nvPr/>
        </p:nvSpPr>
        <p:spPr>
          <a:xfrm>
            <a:off x="6270199" y="2816691"/>
            <a:ext cx="2006182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Silencioso – apenas </a:t>
            </a:r>
            <a:br>
              <a:rPr lang="pt-pt" sz="1100" b="0" i="0" u="none" baseline="0"/>
            </a:br>
            <a:r>
              <a:rPr lang="pt-pt" sz="1100" b="0" i="0" u="none" baseline="0"/>
              <a:t>70 dB(A) de nível de ruído</a:t>
            </a:r>
          </a:p>
        </p:txBody>
      </p:sp>
      <p:sp>
        <p:nvSpPr>
          <p:cNvPr id="29" name="Rectangle 28">
            <a:extLst>
              <a:ext uri="{FF2B5EF4-FFF2-40B4-BE49-F238E27FC236}">
                <a16:creationId xmlns:a16="http://schemas.microsoft.com/office/drawing/2014/main" id="{4696B94E-6CB5-9ABF-1DCA-ED2C08F24BB6}"/>
              </a:ext>
            </a:extLst>
          </p:cNvPr>
          <p:cNvSpPr/>
          <p:nvPr/>
        </p:nvSpPr>
        <p:spPr>
          <a:xfrm>
            <a:off x="5920887" y="3521419"/>
            <a:ext cx="2355493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Assistência fácil e rápida: tudo rapidamente acessível</a:t>
            </a:r>
          </a:p>
        </p:txBody>
      </p:sp>
      <p:sp>
        <p:nvSpPr>
          <p:cNvPr id="30" name="Rectangle 29">
            <a:extLst>
              <a:ext uri="{FF2B5EF4-FFF2-40B4-BE49-F238E27FC236}">
                <a16:creationId xmlns:a16="http://schemas.microsoft.com/office/drawing/2014/main" id="{D10F753D-0D0A-B3AA-E240-EA500DD0D1FA}"/>
              </a:ext>
            </a:extLst>
          </p:cNvPr>
          <p:cNvSpPr/>
          <p:nvPr/>
        </p:nvSpPr>
        <p:spPr>
          <a:xfrm>
            <a:off x="5573616" y="4424886"/>
            <a:ext cx="2702766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Totalmente ligado à terra e ligado, evita faíscas eletrostáticas, perigo elétrico</a:t>
            </a:r>
          </a:p>
        </p:txBody>
      </p:sp>
      <p:sp>
        <p:nvSpPr>
          <p:cNvPr id="31" name="Rectangle 30">
            <a:extLst>
              <a:ext uri="{FF2B5EF4-FFF2-40B4-BE49-F238E27FC236}">
                <a16:creationId xmlns:a16="http://schemas.microsoft.com/office/drawing/2014/main" id="{955E9FC0-7525-E894-3D65-5AEBE7468D02}"/>
              </a:ext>
            </a:extLst>
          </p:cNvPr>
          <p:cNvSpPr/>
          <p:nvPr/>
        </p:nvSpPr>
        <p:spPr>
          <a:xfrm>
            <a:off x="6096000" y="5113208"/>
            <a:ext cx="2180381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Travão de estacionamento, estável mesmo em descidas ligeiras</a:t>
            </a: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524D762C-C098-D0E4-32A4-6759A181D088}"/>
              </a:ext>
            </a:extLst>
          </p:cNvPr>
          <p:cNvSpPr/>
          <p:nvPr/>
        </p:nvSpPr>
        <p:spPr>
          <a:xfrm>
            <a:off x="5424336" y="5794494"/>
            <a:ext cx="2852045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Elevada manobrabilidade graças às </a:t>
            </a:r>
            <a:br>
              <a:rPr lang="pt-pt" sz="1100"/>
            </a:br>
            <a:r>
              <a:rPr lang="pt-pt" sz="1100" b="0" i="0" u="none" baseline="0"/>
              <a:t>4 rodas giratórias com rolamentos de esferas</a:t>
            </a:r>
          </a:p>
        </p:txBody>
      </p:sp>
      <p:cxnSp>
        <p:nvCxnSpPr>
          <p:cNvPr id="34" name="Straight Arrow Connector 88">
            <a:extLst>
              <a:ext uri="{FF2B5EF4-FFF2-40B4-BE49-F238E27FC236}">
                <a16:creationId xmlns:a16="http://schemas.microsoft.com/office/drawing/2014/main" id="{8853F2EE-70C2-2E11-6B0E-2EE1572E8672}"/>
              </a:ext>
            </a:extLst>
          </p:cNvPr>
          <p:cNvCxnSpPr>
            <a:cxnSpLocks/>
          </p:cNvCxnSpPr>
          <p:nvPr/>
        </p:nvCxnSpPr>
        <p:spPr>
          <a:xfrm rot="10800000">
            <a:off x="5317934" y="1887515"/>
            <a:ext cx="2958446" cy="238029"/>
          </a:xfrm>
          <a:prstGeom prst="bentConnector3">
            <a:avLst>
              <a:gd name="adj1" fmla="val 100320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5" name="Straight Arrow Connector 88">
            <a:extLst>
              <a:ext uri="{FF2B5EF4-FFF2-40B4-BE49-F238E27FC236}">
                <a16:creationId xmlns:a16="http://schemas.microsoft.com/office/drawing/2014/main" id="{DB3A3531-368A-71F4-4241-499112E4AB8C}"/>
              </a:ext>
            </a:extLst>
          </p:cNvPr>
          <p:cNvCxnSpPr>
            <a:cxnSpLocks/>
          </p:cNvCxnSpPr>
          <p:nvPr/>
        </p:nvCxnSpPr>
        <p:spPr>
          <a:xfrm rot="10800000">
            <a:off x="4933951" y="2104288"/>
            <a:ext cx="3342428" cy="629722"/>
          </a:xfrm>
          <a:prstGeom prst="bentConnector3">
            <a:avLst>
              <a:gd name="adj1" fmla="val 100178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6" name="Straight Arrow Connector 88">
            <a:extLst>
              <a:ext uri="{FF2B5EF4-FFF2-40B4-BE49-F238E27FC236}">
                <a16:creationId xmlns:a16="http://schemas.microsoft.com/office/drawing/2014/main" id="{8E54141A-90CD-8EC3-9EE2-E4E61CC43841}"/>
              </a:ext>
            </a:extLst>
          </p:cNvPr>
          <p:cNvCxnSpPr>
            <a:cxnSpLocks/>
          </p:cNvCxnSpPr>
          <p:nvPr/>
        </p:nvCxnSpPr>
        <p:spPr>
          <a:xfrm rot="10800000">
            <a:off x="5317934" y="2952737"/>
            <a:ext cx="2958446" cy="343828"/>
          </a:xfrm>
          <a:prstGeom prst="bentConnector3">
            <a:avLst>
              <a:gd name="adj1" fmla="val 100120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Straight Arrow Connector 88">
            <a:extLst>
              <a:ext uri="{FF2B5EF4-FFF2-40B4-BE49-F238E27FC236}">
                <a16:creationId xmlns:a16="http://schemas.microsoft.com/office/drawing/2014/main" id="{1BBB2E53-265B-0F56-48C4-64358A7FE36A}"/>
              </a:ext>
            </a:extLst>
          </p:cNvPr>
          <p:cNvCxnSpPr>
            <a:cxnSpLocks/>
          </p:cNvCxnSpPr>
          <p:nvPr/>
        </p:nvCxnSpPr>
        <p:spPr>
          <a:xfrm rot="10800000" flipV="1">
            <a:off x="5227329" y="4007476"/>
            <a:ext cx="3049050" cy="391830"/>
          </a:xfrm>
          <a:prstGeom prst="bentConnector3">
            <a:avLst>
              <a:gd name="adj1" fmla="val 99987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8" name="Straight Arrow Connector 88">
            <a:extLst>
              <a:ext uri="{FF2B5EF4-FFF2-40B4-BE49-F238E27FC236}">
                <a16:creationId xmlns:a16="http://schemas.microsoft.com/office/drawing/2014/main" id="{5CEDD12F-D307-B410-FE6C-66204CAB3F41}"/>
              </a:ext>
            </a:extLst>
          </p:cNvPr>
          <p:cNvCxnSpPr>
            <a:cxnSpLocks/>
          </p:cNvCxnSpPr>
          <p:nvPr/>
        </p:nvCxnSpPr>
        <p:spPr>
          <a:xfrm flipH="1">
            <a:off x="5462075" y="4909456"/>
            <a:ext cx="2814306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Straight Arrow Connector 88">
            <a:extLst>
              <a:ext uri="{FF2B5EF4-FFF2-40B4-BE49-F238E27FC236}">
                <a16:creationId xmlns:a16="http://schemas.microsoft.com/office/drawing/2014/main" id="{BA6A1C78-3D2D-85CB-7423-1D53F045F092}"/>
              </a:ext>
            </a:extLst>
          </p:cNvPr>
          <p:cNvCxnSpPr>
            <a:cxnSpLocks/>
          </p:cNvCxnSpPr>
          <p:nvPr/>
        </p:nvCxnSpPr>
        <p:spPr>
          <a:xfrm flipH="1">
            <a:off x="5678287" y="5601084"/>
            <a:ext cx="2598094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Straight Arrow Connector 88">
            <a:extLst>
              <a:ext uri="{FF2B5EF4-FFF2-40B4-BE49-F238E27FC236}">
                <a16:creationId xmlns:a16="http://schemas.microsoft.com/office/drawing/2014/main" id="{833EDA5F-3357-1011-CABE-3A236A96BBE0}"/>
              </a:ext>
            </a:extLst>
          </p:cNvPr>
          <p:cNvCxnSpPr>
            <a:cxnSpLocks/>
          </p:cNvCxnSpPr>
          <p:nvPr/>
        </p:nvCxnSpPr>
        <p:spPr>
          <a:xfrm flipH="1">
            <a:off x="5093451" y="6274968"/>
            <a:ext cx="318293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Straight Arrow Connector 88">
            <a:extLst>
              <a:ext uri="{FF2B5EF4-FFF2-40B4-BE49-F238E27FC236}">
                <a16:creationId xmlns:a16="http://schemas.microsoft.com/office/drawing/2014/main" id="{3CD31527-8613-4D03-374E-7A2E51E646BC}"/>
              </a:ext>
            </a:extLst>
          </p:cNvPr>
          <p:cNvCxnSpPr>
            <a:cxnSpLocks/>
          </p:cNvCxnSpPr>
          <p:nvPr/>
        </p:nvCxnSpPr>
        <p:spPr>
          <a:xfrm rot="10800000" flipV="1">
            <a:off x="9512912" y="4656300"/>
            <a:ext cx="2372817" cy="325269"/>
          </a:xfrm>
          <a:prstGeom prst="bentConnector3">
            <a:avLst>
              <a:gd name="adj1" fmla="val 10014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88D23F76-A604-3240-0BC0-3349AAF13B21}"/>
              </a:ext>
            </a:extLst>
          </p:cNvPr>
          <p:cNvSpPr/>
          <p:nvPr/>
        </p:nvSpPr>
        <p:spPr>
          <a:xfrm>
            <a:off x="10691498" y="5291081"/>
            <a:ext cx="1194231" cy="279948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Suporte de proteção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5BF5C784-5C31-CD9F-30B0-50EF977B1667}"/>
              </a:ext>
            </a:extLst>
          </p:cNvPr>
          <p:cNvSpPr/>
          <p:nvPr/>
        </p:nvSpPr>
        <p:spPr>
          <a:xfrm>
            <a:off x="10587226" y="5748163"/>
            <a:ext cx="1298503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lvl="0" algn="r" rtl="0">
              <a:lnSpc>
                <a:spcPct val="120000"/>
              </a:lnSpc>
            </a:pPr>
            <a:r>
              <a:rPr lang="pt-pt" sz="1100" b="0" i="0" u="none" baseline="0"/>
              <a:t>Regulador de pressão opcional</a:t>
            </a:r>
          </a:p>
        </p:txBody>
      </p:sp>
      <p:cxnSp>
        <p:nvCxnSpPr>
          <p:cNvPr id="45" name="Straight Arrow Connector 88">
            <a:extLst>
              <a:ext uri="{FF2B5EF4-FFF2-40B4-BE49-F238E27FC236}">
                <a16:creationId xmlns:a16="http://schemas.microsoft.com/office/drawing/2014/main" id="{BD676CBD-AC7F-A3B0-C440-746C5AD4FD4C}"/>
              </a:ext>
            </a:extLst>
          </p:cNvPr>
          <p:cNvCxnSpPr>
            <a:cxnSpLocks/>
          </p:cNvCxnSpPr>
          <p:nvPr/>
        </p:nvCxnSpPr>
        <p:spPr>
          <a:xfrm flipH="1">
            <a:off x="9939630" y="5569979"/>
            <a:ext cx="194609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88">
            <a:extLst>
              <a:ext uri="{FF2B5EF4-FFF2-40B4-BE49-F238E27FC236}">
                <a16:creationId xmlns:a16="http://schemas.microsoft.com/office/drawing/2014/main" id="{B5D18F6C-C424-1973-9C5F-5F5773541EFC}"/>
              </a:ext>
            </a:extLst>
          </p:cNvPr>
          <p:cNvCxnSpPr>
            <a:cxnSpLocks/>
          </p:cNvCxnSpPr>
          <p:nvPr/>
        </p:nvCxnSpPr>
        <p:spPr>
          <a:xfrm rot="10800000">
            <a:off x="9272875" y="5422136"/>
            <a:ext cx="2612854" cy="803416"/>
          </a:xfrm>
          <a:prstGeom prst="bentConnector3">
            <a:avLst>
              <a:gd name="adj1" fmla="val 99793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08166EDB-FA5B-9359-004D-12C45AC4F667}"/>
              </a:ext>
            </a:extLst>
          </p:cNvPr>
          <p:cNvSpPr/>
          <p:nvPr/>
        </p:nvSpPr>
        <p:spPr>
          <a:xfrm>
            <a:off x="11177899" y="4173146"/>
            <a:ext cx="707830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Válvula de ar manual</a:t>
            </a:r>
          </a:p>
        </p:txBody>
      </p:sp>
      <p:sp>
        <p:nvSpPr>
          <p:cNvPr id="59" name="Rectangle 68">
            <a:extLst>
              <a:ext uri="{FF2B5EF4-FFF2-40B4-BE49-F238E27FC236}">
                <a16:creationId xmlns:a16="http://schemas.microsoft.com/office/drawing/2014/main" id="{D1021664-3772-426E-C926-F7C8A939BCA8}"/>
              </a:ext>
            </a:extLst>
          </p:cNvPr>
          <p:cNvSpPr/>
          <p:nvPr/>
        </p:nvSpPr>
        <p:spPr>
          <a:xfrm>
            <a:off x="6025687" y="1649860"/>
            <a:ext cx="2250694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Invólucro da bomba sem poeiras com filtro ULPA a jusante opcional</a:t>
            </a:r>
          </a:p>
        </p:txBody>
      </p:sp>
      <p:pic>
        <p:nvPicPr>
          <p:cNvPr id="63" name="Immagine 13">
            <a:extLst>
              <a:ext uri="{FF2B5EF4-FFF2-40B4-BE49-F238E27FC236}">
                <a16:creationId xmlns:a16="http://schemas.microsoft.com/office/drawing/2014/main" id="{6E85BB81-C1A2-DA0F-D37C-CB56B989B1DD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10800000">
            <a:off x="8886695" y="1172133"/>
            <a:ext cx="1813764" cy="2007635"/>
          </a:xfrm>
          <a:prstGeom prst="rect">
            <a:avLst/>
          </a:prstGeom>
        </p:spPr>
      </p:pic>
      <p:cxnSp>
        <p:nvCxnSpPr>
          <p:cNvPr id="64" name="Straight Arrow Connector 88">
            <a:extLst>
              <a:ext uri="{FF2B5EF4-FFF2-40B4-BE49-F238E27FC236}">
                <a16:creationId xmlns:a16="http://schemas.microsoft.com/office/drawing/2014/main" id="{AE21477E-E055-4596-4E3F-33CBA290B6EB}"/>
              </a:ext>
            </a:extLst>
          </p:cNvPr>
          <p:cNvCxnSpPr>
            <a:cxnSpLocks/>
          </p:cNvCxnSpPr>
          <p:nvPr/>
        </p:nvCxnSpPr>
        <p:spPr>
          <a:xfrm>
            <a:off x="9786988" y="1045036"/>
            <a:ext cx="0" cy="1227969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5" name="Rectangle 64">
            <a:extLst>
              <a:ext uri="{FF2B5EF4-FFF2-40B4-BE49-F238E27FC236}">
                <a16:creationId xmlns:a16="http://schemas.microsoft.com/office/drawing/2014/main" id="{583BDA8B-9934-1E77-49E5-A5F27FD5471D}"/>
              </a:ext>
            </a:extLst>
          </p:cNvPr>
          <p:cNvSpPr/>
          <p:nvPr/>
        </p:nvSpPr>
        <p:spPr>
          <a:xfrm>
            <a:off x="10957506" y="769412"/>
            <a:ext cx="928224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Fornecimento de ar</a:t>
            </a:r>
          </a:p>
        </p:txBody>
      </p:sp>
      <p:sp>
        <p:nvSpPr>
          <p:cNvPr id="66" name="Rectangle 65">
            <a:extLst>
              <a:ext uri="{FF2B5EF4-FFF2-40B4-BE49-F238E27FC236}">
                <a16:creationId xmlns:a16="http://schemas.microsoft.com/office/drawing/2014/main" id="{A0745BEB-A838-A36F-04F7-612B9DF133EF}"/>
              </a:ext>
            </a:extLst>
          </p:cNvPr>
          <p:cNvSpPr/>
          <p:nvPr/>
        </p:nvSpPr>
        <p:spPr>
          <a:xfrm>
            <a:off x="10678090" y="1699614"/>
            <a:ext cx="1207640" cy="260319"/>
          </a:xfrm>
          <a:prstGeom prst="rect">
            <a:avLst/>
          </a:prstGeom>
        </p:spPr>
        <p:txBody>
          <a:bodyPr wrap="square" lIns="90000" tIns="72000" rIns="0" bIns="0" anchor="t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Abraçadeira de ligação à terra</a:t>
            </a:r>
          </a:p>
        </p:txBody>
      </p:sp>
      <p:cxnSp>
        <p:nvCxnSpPr>
          <p:cNvPr id="67" name="Straight Arrow Connector 88">
            <a:extLst>
              <a:ext uri="{FF2B5EF4-FFF2-40B4-BE49-F238E27FC236}">
                <a16:creationId xmlns:a16="http://schemas.microsoft.com/office/drawing/2014/main" id="{569F5833-E026-B074-115E-55DC32E927E5}"/>
              </a:ext>
            </a:extLst>
          </p:cNvPr>
          <p:cNvCxnSpPr>
            <a:cxnSpLocks/>
          </p:cNvCxnSpPr>
          <p:nvPr/>
        </p:nvCxnSpPr>
        <p:spPr>
          <a:xfrm flipH="1">
            <a:off x="9512912" y="1246672"/>
            <a:ext cx="2372817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68" name="Group 67">
            <a:extLst>
              <a:ext uri="{FF2B5EF4-FFF2-40B4-BE49-F238E27FC236}">
                <a16:creationId xmlns:a16="http://schemas.microsoft.com/office/drawing/2014/main" id="{0827D586-A659-8E1C-4FD1-1BF504E305FD}"/>
              </a:ext>
            </a:extLst>
          </p:cNvPr>
          <p:cNvGrpSpPr/>
          <p:nvPr/>
        </p:nvGrpSpPr>
        <p:grpSpPr>
          <a:xfrm>
            <a:off x="9272273" y="3144121"/>
            <a:ext cx="1029909" cy="243380"/>
            <a:chOff x="9269139" y="3128881"/>
            <a:chExt cx="1029909" cy="243380"/>
          </a:xfrm>
        </p:grpSpPr>
        <p:cxnSp>
          <p:nvCxnSpPr>
            <p:cNvPr id="69" name="Straight Arrow Connector 88">
              <a:extLst>
                <a:ext uri="{FF2B5EF4-FFF2-40B4-BE49-F238E27FC236}">
                  <a16:creationId xmlns:a16="http://schemas.microsoft.com/office/drawing/2014/main" id="{E51D52FF-0AF2-DDEA-4DF6-E22CDC2D370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269139" y="3128881"/>
              <a:ext cx="0" cy="24338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0" name="Straight Arrow Connector 88">
              <a:extLst>
                <a:ext uri="{FF2B5EF4-FFF2-40B4-BE49-F238E27FC236}">
                  <a16:creationId xmlns:a16="http://schemas.microsoft.com/office/drawing/2014/main" id="{954B6BDA-5E41-84D7-AFB8-5B39A3CAEA78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299048" y="3128881"/>
              <a:ext cx="0" cy="24338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71" name="Rectangle 132">
            <a:extLst>
              <a:ext uri="{FF2B5EF4-FFF2-40B4-BE49-F238E27FC236}">
                <a16:creationId xmlns:a16="http://schemas.microsoft.com/office/drawing/2014/main" id="{4EF46D3A-A5D0-0643-9039-86A35A7BC411}"/>
              </a:ext>
            </a:extLst>
          </p:cNvPr>
          <p:cNvSpPr/>
          <p:nvPr/>
        </p:nvSpPr>
        <p:spPr>
          <a:xfrm>
            <a:off x="9096827" y="563955"/>
            <a:ext cx="1414500" cy="483081"/>
          </a:xfrm>
          <a:prstGeom prst="rect">
            <a:avLst/>
          </a:prstGeom>
          <a:ln w="6350">
            <a:gradFill flip="none" rotWithShape="1">
              <a:gsLst>
                <a:gs pos="98000">
                  <a:srgbClr val="CFEAF4">
                    <a:alpha val="0"/>
                  </a:srgbClr>
                </a:gs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9000">
                  <a:schemeClr val="accent3"/>
                </a:gs>
              </a:gsLst>
              <a:lin ang="5400000" scaled="0"/>
              <a:tileRect/>
            </a:gradFill>
          </a:ln>
        </p:spPr>
        <p:txBody>
          <a:bodyPr wrap="square" lIns="0" tIns="0" rIns="0" bIns="91440" anchor="b">
            <a:spAutoFit/>
          </a:bodyPr>
          <a:lstStyle/>
          <a:p>
            <a:pPr algn="ctr" rtl="0">
              <a:lnSpc>
                <a:spcPct val="120000"/>
              </a:lnSpc>
            </a:pPr>
            <a:r>
              <a:rPr lang="pt-pt" sz="1100" b="0" i="0" u="none" baseline="0"/>
              <a:t>Pega com suporte do cabo de ligação à terra</a:t>
            </a:r>
          </a:p>
        </p:txBody>
      </p:sp>
      <p:cxnSp>
        <p:nvCxnSpPr>
          <p:cNvPr id="72" name="Straight Arrow Connector 88">
            <a:extLst>
              <a:ext uri="{FF2B5EF4-FFF2-40B4-BE49-F238E27FC236}">
                <a16:creationId xmlns:a16="http://schemas.microsoft.com/office/drawing/2014/main" id="{D4216B6C-142E-D856-B3F3-BB92DB6021C4}"/>
              </a:ext>
            </a:extLst>
          </p:cNvPr>
          <p:cNvCxnSpPr>
            <a:cxnSpLocks/>
          </p:cNvCxnSpPr>
          <p:nvPr/>
        </p:nvCxnSpPr>
        <p:spPr>
          <a:xfrm rot="10800000">
            <a:off x="9962782" y="1383172"/>
            <a:ext cx="1895016" cy="312824"/>
          </a:xfrm>
          <a:prstGeom prst="bentConnector3">
            <a:avLst>
              <a:gd name="adj1" fmla="val 9976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Rectangle 132">
            <a:extLst>
              <a:ext uri="{FF2B5EF4-FFF2-40B4-BE49-F238E27FC236}">
                <a16:creationId xmlns:a16="http://schemas.microsoft.com/office/drawing/2014/main" id="{A0D5BA49-4692-2E94-82EE-EA68963439E9}"/>
              </a:ext>
            </a:extLst>
          </p:cNvPr>
          <p:cNvSpPr/>
          <p:nvPr/>
        </p:nvSpPr>
        <p:spPr>
          <a:xfrm>
            <a:off x="9180304" y="3385768"/>
            <a:ext cx="1213846" cy="187615"/>
          </a:xfrm>
          <a:prstGeom prst="rect">
            <a:avLst/>
          </a:prstGeom>
          <a:ln w="6350" cap="rnd" cmpd="thickThin">
            <a:gradFill flip="none" rotWithShape="1">
              <a:gsLst>
                <a:gs pos="94000">
                  <a:schemeClr val="bg2">
                    <a:lumMod val="20000"/>
                    <a:lumOff val="80000"/>
                    <a:alpha val="0"/>
                  </a:schemeClr>
                </a:gs>
                <a:gs pos="99000">
                  <a:schemeClr val="accent3"/>
                </a:gs>
              </a:gsLst>
              <a:lin ang="16200000" scaled="0"/>
              <a:tileRect/>
            </a:gradFill>
          </a:ln>
        </p:spPr>
        <p:txBody>
          <a:bodyPr wrap="square" lIns="0" tIns="0" rIns="0" bIns="0" anchor="t" anchorCtr="0">
            <a:spAutoFit/>
          </a:bodyPr>
          <a:lstStyle/>
          <a:p>
            <a:pPr algn="ctr" rtl="0">
              <a:lnSpc>
                <a:spcPct val="120000"/>
              </a:lnSpc>
            </a:pPr>
            <a:r>
              <a:rPr lang="pt-pt" sz="1100" b="0" i="0" u="none" baseline="0"/>
              <a:t>Suporte de acessórios</a:t>
            </a:r>
          </a:p>
        </p:txBody>
      </p:sp>
    </p:spTree>
    <p:extLst>
      <p:ext uri="{BB962C8B-B14F-4D97-AF65-F5344CB8AC3E}">
        <p14:creationId xmlns:p14="http://schemas.microsoft.com/office/powerpoint/2010/main" val="40926677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5054138-3032-9559-1BF0-E93DB938CB3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" name="Immagine 18">
            <a:extLst>
              <a:ext uri="{FF2B5EF4-FFF2-40B4-BE49-F238E27FC236}">
                <a16:creationId xmlns:a16="http://schemas.microsoft.com/office/drawing/2014/main" id="{663E28ED-E935-D43C-5D2D-56F9F215B6E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521866" y="1128971"/>
            <a:ext cx="2762635" cy="5506218"/>
          </a:xfrm>
          <a:prstGeom prst="rect">
            <a:avLst/>
          </a:prstGeom>
        </p:spPr>
      </p:pic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BA5F855F-7660-C7C7-EE02-4CDFA58846A1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pt-pt" b="0" i="0" u="none" baseline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625AED1C-E526-AA49-3B86-52E44C274D27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921BED9-FC4B-1FF9-4536-0B009177265D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3</a:t>
            </a:fld>
            <a:endParaRPr lang="pt-p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173A4D75-6A33-468D-34B3-53F46895A397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algn="l" rtl="0"/>
            <a:r>
              <a:rPr lang="pt-pt" b="0" i="0" u="none" baseline="0"/>
              <a:t>VHC010 Z1 / EXP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09EBF774-C3BF-E544-FB91-F8E3077309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Principais</a:t>
            </a:r>
            <a:r>
              <a:rPr lang="pt-pt" b="0" i="0" u="none" baseline="0"/>
              <a:t> </a:t>
            </a:r>
            <a:r>
              <a:rPr lang="pt-pt" b="1" i="0" u="none" baseline="0"/>
              <a:t>características</a:t>
            </a:r>
            <a:r>
              <a:rPr lang="pt-pt" b="0" i="0" u="none" baseline="0"/>
              <a:t> </a:t>
            </a:r>
            <a:r>
              <a:rPr lang="pt-pt" b="1" i="0" u="none" baseline="0"/>
              <a:t>e</a:t>
            </a:r>
            <a:r>
              <a:rPr lang="pt-pt" b="0" i="0" u="none" baseline="0"/>
              <a:t> </a:t>
            </a:r>
            <a:r>
              <a:rPr lang="pt-pt" b="1" i="0" u="none" baseline="0"/>
              <a:t>design</a:t>
            </a:r>
          </a:p>
        </p:txBody>
      </p:sp>
      <p:pic>
        <p:nvPicPr>
          <p:cNvPr id="10" name="Immagine 16">
            <a:extLst>
              <a:ext uri="{FF2B5EF4-FFF2-40B4-BE49-F238E27FC236}">
                <a16:creationId xmlns:a16="http://schemas.microsoft.com/office/drawing/2014/main" id="{8F3706F7-F5C8-C10A-9EF1-30421D285E4F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8724336" y="4165735"/>
            <a:ext cx="1953753" cy="2117589"/>
          </a:xfrm>
          <a:prstGeom prst="rect">
            <a:avLst/>
          </a:prstGeom>
        </p:spPr>
      </p:pic>
      <p:cxnSp>
        <p:nvCxnSpPr>
          <p:cNvPr id="42" name="Straight Arrow Connector 88">
            <a:extLst>
              <a:ext uri="{FF2B5EF4-FFF2-40B4-BE49-F238E27FC236}">
                <a16:creationId xmlns:a16="http://schemas.microsoft.com/office/drawing/2014/main" id="{0E7E0867-A6DF-F969-A80A-F55D6423AFAB}"/>
              </a:ext>
            </a:extLst>
          </p:cNvPr>
          <p:cNvCxnSpPr>
            <a:cxnSpLocks/>
          </p:cNvCxnSpPr>
          <p:nvPr/>
        </p:nvCxnSpPr>
        <p:spPr>
          <a:xfrm rot="10800000" flipV="1">
            <a:off x="9512912" y="4656300"/>
            <a:ext cx="2372817" cy="325269"/>
          </a:xfrm>
          <a:prstGeom prst="bentConnector3">
            <a:avLst>
              <a:gd name="adj1" fmla="val 10014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3" name="Rectangle 42">
            <a:extLst>
              <a:ext uri="{FF2B5EF4-FFF2-40B4-BE49-F238E27FC236}">
                <a16:creationId xmlns:a16="http://schemas.microsoft.com/office/drawing/2014/main" id="{B1FA0BA5-8135-139F-9462-E138228C6A99}"/>
              </a:ext>
            </a:extLst>
          </p:cNvPr>
          <p:cNvSpPr/>
          <p:nvPr/>
        </p:nvSpPr>
        <p:spPr>
          <a:xfrm>
            <a:off x="10691498" y="5291081"/>
            <a:ext cx="1194231" cy="279948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Suporte de proteção</a:t>
            </a:r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986F6467-064C-AA2B-51B9-8DCB64111035}"/>
              </a:ext>
            </a:extLst>
          </p:cNvPr>
          <p:cNvSpPr/>
          <p:nvPr/>
        </p:nvSpPr>
        <p:spPr>
          <a:xfrm>
            <a:off x="10587226" y="5748163"/>
            <a:ext cx="1298503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lvl="0" algn="r" rtl="0">
              <a:lnSpc>
                <a:spcPct val="120000"/>
              </a:lnSpc>
            </a:pPr>
            <a:r>
              <a:rPr lang="pt-pt" sz="1100" b="0" i="0" u="none" baseline="0"/>
              <a:t>Kit de regulador de pressão opcional</a:t>
            </a:r>
          </a:p>
        </p:txBody>
      </p:sp>
      <p:cxnSp>
        <p:nvCxnSpPr>
          <p:cNvPr id="45" name="Straight Arrow Connector 88">
            <a:extLst>
              <a:ext uri="{FF2B5EF4-FFF2-40B4-BE49-F238E27FC236}">
                <a16:creationId xmlns:a16="http://schemas.microsoft.com/office/drawing/2014/main" id="{5ABF0684-3511-A76C-9118-9EBF0C35B7E1}"/>
              </a:ext>
            </a:extLst>
          </p:cNvPr>
          <p:cNvCxnSpPr>
            <a:cxnSpLocks/>
          </p:cNvCxnSpPr>
          <p:nvPr/>
        </p:nvCxnSpPr>
        <p:spPr>
          <a:xfrm flipH="1">
            <a:off x="9939630" y="5569979"/>
            <a:ext cx="1946099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Straight Arrow Connector 88">
            <a:extLst>
              <a:ext uri="{FF2B5EF4-FFF2-40B4-BE49-F238E27FC236}">
                <a16:creationId xmlns:a16="http://schemas.microsoft.com/office/drawing/2014/main" id="{9A10DF81-ABBF-4622-1351-5ED44E9CBC3E}"/>
              </a:ext>
            </a:extLst>
          </p:cNvPr>
          <p:cNvCxnSpPr>
            <a:cxnSpLocks/>
          </p:cNvCxnSpPr>
          <p:nvPr/>
        </p:nvCxnSpPr>
        <p:spPr>
          <a:xfrm rot="10800000">
            <a:off x="9272875" y="5422136"/>
            <a:ext cx="2612854" cy="803416"/>
          </a:xfrm>
          <a:prstGeom prst="bentConnector3">
            <a:avLst>
              <a:gd name="adj1" fmla="val 99793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7" name="Rectangle 46">
            <a:extLst>
              <a:ext uri="{FF2B5EF4-FFF2-40B4-BE49-F238E27FC236}">
                <a16:creationId xmlns:a16="http://schemas.microsoft.com/office/drawing/2014/main" id="{C2AB3028-886F-1A53-FC8E-E80161334F6E}"/>
              </a:ext>
            </a:extLst>
          </p:cNvPr>
          <p:cNvSpPr/>
          <p:nvPr/>
        </p:nvSpPr>
        <p:spPr>
          <a:xfrm>
            <a:off x="11160807" y="4173146"/>
            <a:ext cx="724922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Válvula de ar manual</a:t>
            </a:r>
          </a:p>
        </p:txBody>
      </p:sp>
      <p:sp>
        <p:nvSpPr>
          <p:cNvPr id="79" name="Rectangle 78">
            <a:extLst>
              <a:ext uri="{FF2B5EF4-FFF2-40B4-BE49-F238E27FC236}">
                <a16:creationId xmlns:a16="http://schemas.microsoft.com/office/drawing/2014/main" id="{BFC6BEBA-29D4-AC8B-4E2F-4B0811AB171E}"/>
              </a:ext>
            </a:extLst>
          </p:cNvPr>
          <p:cNvSpPr/>
          <p:nvPr/>
        </p:nvSpPr>
        <p:spPr>
          <a:xfrm>
            <a:off x="479422" y="2259037"/>
            <a:ext cx="2805801" cy="483081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/>
              <a:t>Eficiência do filtro de segurança HEPA 14 99,995% 0,1 – 0,2 mícrones</a:t>
            </a:r>
          </a:p>
        </p:txBody>
      </p:sp>
      <p:cxnSp>
        <p:nvCxnSpPr>
          <p:cNvPr id="80" name="Straight Arrow Connector 21">
            <a:extLst>
              <a:ext uri="{FF2B5EF4-FFF2-40B4-BE49-F238E27FC236}">
                <a16:creationId xmlns:a16="http://schemas.microsoft.com/office/drawing/2014/main" id="{E3E969CE-62CF-1310-CF37-220E04841513}"/>
              </a:ext>
            </a:extLst>
          </p:cNvPr>
          <p:cNvCxnSpPr>
            <a:cxnSpLocks/>
          </p:cNvCxnSpPr>
          <p:nvPr/>
        </p:nvCxnSpPr>
        <p:spPr>
          <a:xfrm>
            <a:off x="478619" y="2744789"/>
            <a:ext cx="4277600" cy="930158"/>
          </a:xfrm>
          <a:prstGeom prst="bentConnector3">
            <a:avLst>
              <a:gd name="adj1" fmla="val 100324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1" name="Rectangle 80">
            <a:extLst>
              <a:ext uri="{FF2B5EF4-FFF2-40B4-BE49-F238E27FC236}">
                <a16:creationId xmlns:a16="http://schemas.microsoft.com/office/drawing/2014/main" id="{7AECECAC-5AB9-74C4-99E6-87F26318FA08}"/>
              </a:ext>
            </a:extLst>
          </p:cNvPr>
          <p:cNvSpPr/>
          <p:nvPr/>
        </p:nvSpPr>
        <p:spPr>
          <a:xfrm>
            <a:off x="479422" y="3075619"/>
            <a:ext cx="3570063" cy="279948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/>
              <a:t>Depósito AISI 304 de 30 L pintado externamente</a:t>
            </a:r>
          </a:p>
        </p:txBody>
      </p:sp>
      <p:cxnSp>
        <p:nvCxnSpPr>
          <p:cNvPr id="82" name="Straight Arrow Connector 26">
            <a:extLst>
              <a:ext uri="{FF2B5EF4-FFF2-40B4-BE49-F238E27FC236}">
                <a16:creationId xmlns:a16="http://schemas.microsoft.com/office/drawing/2014/main" id="{19AC6DEC-8064-50E3-5333-41717D1086D8}"/>
              </a:ext>
            </a:extLst>
          </p:cNvPr>
          <p:cNvCxnSpPr>
            <a:cxnSpLocks/>
          </p:cNvCxnSpPr>
          <p:nvPr/>
        </p:nvCxnSpPr>
        <p:spPr>
          <a:xfrm>
            <a:off x="475521" y="3352895"/>
            <a:ext cx="4088378" cy="735076"/>
          </a:xfrm>
          <a:prstGeom prst="bentConnector3">
            <a:avLst>
              <a:gd name="adj1" fmla="val 100323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3" name="Rectangle 82">
            <a:extLst>
              <a:ext uri="{FF2B5EF4-FFF2-40B4-BE49-F238E27FC236}">
                <a16:creationId xmlns:a16="http://schemas.microsoft.com/office/drawing/2014/main" id="{18995235-BA80-1386-7783-F96B963193AD}"/>
              </a:ext>
            </a:extLst>
          </p:cNvPr>
          <p:cNvSpPr/>
          <p:nvPr/>
        </p:nvSpPr>
        <p:spPr>
          <a:xfrm>
            <a:off x="479422" y="3686397"/>
            <a:ext cx="2913258" cy="483081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/>
              <a:t>Ligação segura e à prova de erros para acessórios ATEX EXA certificados Ø40</a:t>
            </a:r>
          </a:p>
        </p:txBody>
      </p:sp>
      <p:cxnSp>
        <p:nvCxnSpPr>
          <p:cNvPr id="84" name="Straight Arrow Connector 36">
            <a:extLst>
              <a:ext uri="{FF2B5EF4-FFF2-40B4-BE49-F238E27FC236}">
                <a16:creationId xmlns:a16="http://schemas.microsoft.com/office/drawing/2014/main" id="{B30DC83A-0C39-EC26-693C-007235732724}"/>
              </a:ext>
            </a:extLst>
          </p:cNvPr>
          <p:cNvCxnSpPr>
            <a:cxnSpLocks/>
          </p:cNvCxnSpPr>
          <p:nvPr/>
        </p:nvCxnSpPr>
        <p:spPr>
          <a:xfrm>
            <a:off x="475521" y="4176984"/>
            <a:ext cx="4058853" cy="454167"/>
          </a:xfrm>
          <a:prstGeom prst="bentConnector3">
            <a:avLst>
              <a:gd name="adj1" fmla="val 99985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5" name="Rectangle 84">
            <a:extLst>
              <a:ext uri="{FF2B5EF4-FFF2-40B4-BE49-F238E27FC236}">
                <a16:creationId xmlns:a16="http://schemas.microsoft.com/office/drawing/2014/main" id="{F4C53E97-E887-856C-1A63-26D332287EC8}"/>
              </a:ext>
            </a:extLst>
          </p:cNvPr>
          <p:cNvSpPr/>
          <p:nvPr/>
        </p:nvSpPr>
        <p:spPr>
          <a:xfrm>
            <a:off x="479422" y="4507814"/>
            <a:ext cx="2805801" cy="483081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/>
              <a:t>Totalmente ligado à terra e ligado, evita faíscas eletrostáticas, perigo elétrico</a:t>
            </a:r>
          </a:p>
        </p:txBody>
      </p:sp>
      <p:cxnSp>
        <p:nvCxnSpPr>
          <p:cNvPr id="86" name="Straight Arrow Connector 38">
            <a:extLst>
              <a:ext uri="{FF2B5EF4-FFF2-40B4-BE49-F238E27FC236}">
                <a16:creationId xmlns:a16="http://schemas.microsoft.com/office/drawing/2014/main" id="{19E0D058-FD81-C1B7-27D4-E6E3024E30BA}"/>
              </a:ext>
            </a:extLst>
          </p:cNvPr>
          <p:cNvCxnSpPr>
            <a:cxnSpLocks/>
          </p:cNvCxnSpPr>
          <p:nvPr/>
        </p:nvCxnSpPr>
        <p:spPr>
          <a:xfrm>
            <a:off x="475521" y="4995944"/>
            <a:ext cx="4280698" cy="271060"/>
          </a:xfrm>
          <a:prstGeom prst="bentConnector3">
            <a:avLst>
              <a:gd name="adj1" fmla="val 100065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Rectangle 87">
            <a:extLst>
              <a:ext uri="{FF2B5EF4-FFF2-40B4-BE49-F238E27FC236}">
                <a16:creationId xmlns:a16="http://schemas.microsoft.com/office/drawing/2014/main" id="{712C6BBD-442D-0E88-D7BF-681B017E3B25}"/>
              </a:ext>
            </a:extLst>
          </p:cNvPr>
          <p:cNvSpPr/>
          <p:nvPr/>
        </p:nvSpPr>
        <p:spPr>
          <a:xfrm>
            <a:off x="6156960" y="2644001"/>
            <a:ext cx="2119421" cy="483081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Forma arredondada para uma limpeza fácil da superfície total </a:t>
            </a:r>
          </a:p>
        </p:txBody>
      </p:sp>
      <p:sp>
        <p:nvSpPr>
          <p:cNvPr id="89" name="Rectangle 88">
            <a:extLst>
              <a:ext uri="{FF2B5EF4-FFF2-40B4-BE49-F238E27FC236}">
                <a16:creationId xmlns:a16="http://schemas.microsoft.com/office/drawing/2014/main" id="{A0C9A305-DA9D-48CD-F4A5-35E3C7BB45E8}"/>
              </a:ext>
            </a:extLst>
          </p:cNvPr>
          <p:cNvSpPr/>
          <p:nvPr/>
        </p:nvSpPr>
        <p:spPr>
          <a:xfrm>
            <a:off x="6521144" y="3284890"/>
            <a:ext cx="1755237" cy="483081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Silencioso – apenas </a:t>
            </a:r>
            <a:br>
              <a:rPr lang="pt-pt" sz="1100" b="0" i="0" u="none" baseline="0"/>
            </a:br>
            <a:r>
              <a:rPr lang="pt-pt" sz="1100" b="0" i="0" u="none" baseline="0"/>
              <a:t>70 dB(A) de nível de ruído</a:t>
            </a:r>
          </a:p>
        </p:txBody>
      </p:sp>
      <p:sp>
        <p:nvSpPr>
          <p:cNvPr id="90" name="Rectangle 89">
            <a:extLst>
              <a:ext uri="{FF2B5EF4-FFF2-40B4-BE49-F238E27FC236}">
                <a16:creationId xmlns:a16="http://schemas.microsoft.com/office/drawing/2014/main" id="{98FB0A0B-2F2A-DC7A-626C-9BD993AB64EC}"/>
              </a:ext>
            </a:extLst>
          </p:cNvPr>
          <p:cNvSpPr/>
          <p:nvPr/>
        </p:nvSpPr>
        <p:spPr>
          <a:xfrm>
            <a:off x="6637769" y="4058656"/>
            <a:ext cx="1638612" cy="483081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Sistema de eliminação prático e seguro </a:t>
            </a:r>
          </a:p>
        </p:txBody>
      </p:sp>
      <p:sp>
        <p:nvSpPr>
          <p:cNvPr id="91" name="Rectangle 90">
            <a:extLst>
              <a:ext uri="{FF2B5EF4-FFF2-40B4-BE49-F238E27FC236}">
                <a16:creationId xmlns:a16="http://schemas.microsoft.com/office/drawing/2014/main" id="{D39ED650-7F23-C096-BFC2-791C9DF6CE03}"/>
              </a:ext>
            </a:extLst>
          </p:cNvPr>
          <p:cNvSpPr/>
          <p:nvPr/>
        </p:nvSpPr>
        <p:spPr>
          <a:xfrm>
            <a:off x="6565359" y="5065656"/>
            <a:ext cx="1711022" cy="483081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Travão de estacionamento, estável mesmo em descidas ligeiras</a:t>
            </a:r>
          </a:p>
        </p:txBody>
      </p:sp>
      <p:sp>
        <p:nvSpPr>
          <p:cNvPr id="92" name="Rectangle 91">
            <a:extLst>
              <a:ext uri="{FF2B5EF4-FFF2-40B4-BE49-F238E27FC236}">
                <a16:creationId xmlns:a16="http://schemas.microsoft.com/office/drawing/2014/main" id="{E24D6A5D-6AC3-7189-342A-344816778AA6}"/>
              </a:ext>
            </a:extLst>
          </p:cNvPr>
          <p:cNvSpPr/>
          <p:nvPr/>
        </p:nvSpPr>
        <p:spPr>
          <a:xfrm>
            <a:off x="6096000" y="5589761"/>
            <a:ext cx="2180381" cy="686213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Elevada manobrabilidade, depósito </a:t>
            </a:r>
            <a:br>
              <a:rPr lang="pt-pt" sz="1100"/>
            </a:br>
            <a:r>
              <a:rPr lang="pt-pt" sz="1100" b="0" i="0" u="none" baseline="0"/>
              <a:t>com 4 rodas giratórias com rolamento de esferas</a:t>
            </a:r>
          </a:p>
        </p:txBody>
      </p:sp>
      <p:cxnSp>
        <p:nvCxnSpPr>
          <p:cNvPr id="93" name="Straight Arrow Connector 88">
            <a:extLst>
              <a:ext uri="{FF2B5EF4-FFF2-40B4-BE49-F238E27FC236}">
                <a16:creationId xmlns:a16="http://schemas.microsoft.com/office/drawing/2014/main" id="{CC138682-C860-7F06-755D-011D0363DCAD}"/>
              </a:ext>
            </a:extLst>
          </p:cNvPr>
          <p:cNvCxnSpPr>
            <a:cxnSpLocks/>
          </p:cNvCxnSpPr>
          <p:nvPr/>
        </p:nvCxnSpPr>
        <p:spPr>
          <a:xfrm rot="10800000">
            <a:off x="4992862" y="2570129"/>
            <a:ext cx="3283518" cy="550573"/>
          </a:xfrm>
          <a:prstGeom prst="bentConnector3">
            <a:avLst>
              <a:gd name="adj1" fmla="val 100185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4" name="Straight Arrow Connector 88">
            <a:extLst>
              <a:ext uri="{FF2B5EF4-FFF2-40B4-BE49-F238E27FC236}">
                <a16:creationId xmlns:a16="http://schemas.microsoft.com/office/drawing/2014/main" id="{B319D9FA-E163-186B-D2BC-708C174FEB5B}"/>
              </a:ext>
            </a:extLst>
          </p:cNvPr>
          <p:cNvCxnSpPr>
            <a:cxnSpLocks/>
          </p:cNvCxnSpPr>
          <p:nvPr/>
        </p:nvCxnSpPr>
        <p:spPr>
          <a:xfrm rot="10800000">
            <a:off x="5317934" y="3425581"/>
            <a:ext cx="2958446" cy="343828"/>
          </a:xfrm>
          <a:prstGeom prst="bentConnector3">
            <a:avLst>
              <a:gd name="adj1" fmla="val 100120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5" name="Straight Arrow Connector 88">
            <a:extLst>
              <a:ext uri="{FF2B5EF4-FFF2-40B4-BE49-F238E27FC236}">
                <a16:creationId xmlns:a16="http://schemas.microsoft.com/office/drawing/2014/main" id="{455ED814-A00B-45D5-9141-FC3A9C00EC9A}"/>
              </a:ext>
            </a:extLst>
          </p:cNvPr>
          <p:cNvCxnSpPr>
            <a:cxnSpLocks/>
          </p:cNvCxnSpPr>
          <p:nvPr/>
        </p:nvCxnSpPr>
        <p:spPr>
          <a:xfrm flipH="1">
            <a:off x="5772150" y="5547993"/>
            <a:ext cx="2504231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6" name="Straight Arrow Connector 88">
            <a:extLst>
              <a:ext uri="{FF2B5EF4-FFF2-40B4-BE49-F238E27FC236}">
                <a16:creationId xmlns:a16="http://schemas.microsoft.com/office/drawing/2014/main" id="{7AAD55A0-4D4C-E4EF-1AA1-F1C88B308DE2}"/>
              </a:ext>
            </a:extLst>
          </p:cNvPr>
          <p:cNvCxnSpPr>
            <a:cxnSpLocks/>
          </p:cNvCxnSpPr>
          <p:nvPr/>
        </p:nvCxnSpPr>
        <p:spPr>
          <a:xfrm flipH="1">
            <a:off x="5093451" y="6273367"/>
            <a:ext cx="3182930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7" name="Rectangle 96">
            <a:extLst>
              <a:ext uri="{FF2B5EF4-FFF2-40B4-BE49-F238E27FC236}">
                <a16:creationId xmlns:a16="http://schemas.microsoft.com/office/drawing/2014/main" id="{008BDD31-4909-EE0C-0C9D-F1EC9107676C}"/>
              </a:ext>
            </a:extLst>
          </p:cNvPr>
          <p:cNvSpPr/>
          <p:nvPr/>
        </p:nvSpPr>
        <p:spPr>
          <a:xfrm>
            <a:off x="479422" y="5357255"/>
            <a:ext cx="3155319" cy="279948"/>
          </a:xfrm>
          <a:prstGeom prst="rect">
            <a:avLst/>
          </a:prstGeom>
        </p:spPr>
        <p:txBody>
          <a:bodyPr wrap="square" lIns="0" tIns="0" rIns="0" bIns="91440" anchor="b" anchorCtr="0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/>
              <a:t>Rodas antiestáticas</a:t>
            </a:r>
          </a:p>
        </p:txBody>
      </p:sp>
      <p:cxnSp>
        <p:nvCxnSpPr>
          <p:cNvPr id="98" name="Straight Arrow Connector 38">
            <a:extLst>
              <a:ext uri="{FF2B5EF4-FFF2-40B4-BE49-F238E27FC236}">
                <a16:creationId xmlns:a16="http://schemas.microsoft.com/office/drawing/2014/main" id="{72B90BF8-F68C-E014-A0E1-B1DC7297AB2E}"/>
              </a:ext>
            </a:extLst>
          </p:cNvPr>
          <p:cNvCxnSpPr>
            <a:cxnSpLocks/>
          </p:cNvCxnSpPr>
          <p:nvPr/>
        </p:nvCxnSpPr>
        <p:spPr>
          <a:xfrm>
            <a:off x="475521" y="5637203"/>
            <a:ext cx="3477354" cy="281722"/>
          </a:xfrm>
          <a:prstGeom prst="bentConnector3">
            <a:avLst>
              <a:gd name="adj1" fmla="val 100126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0" name="Straight Arrow Connector 28">
            <a:extLst>
              <a:ext uri="{FF2B5EF4-FFF2-40B4-BE49-F238E27FC236}">
                <a16:creationId xmlns:a16="http://schemas.microsoft.com/office/drawing/2014/main" id="{CE01E145-D275-15AE-5CB7-ADE2DBE7349E}"/>
              </a:ext>
            </a:extLst>
          </p:cNvPr>
          <p:cNvCxnSpPr>
            <a:cxnSpLocks/>
          </p:cNvCxnSpPr>
          <p:nvPr/>
        </p:nvCxnSpPr>
        <p:spPr>
          <a:xfrm>
            <a:off x="478619" y="2126482"/>
            <a:ext cx="4155121" cy="372513"/>
          </a:xfrm>
          <a:prstGeom prst="bentConnector3">
            <a:avLst>
              <a:gd name="adj1" fmla="val 100065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1" name="Straight Arrow Connector 88">
            <a:extLst>
              <a:ext uri="{FF2B5EF4-FFF2-40B4-BE49-F238E27FC236}">
                <a16:creationId xmlns:a16="http://schemas.microsoft.com/office/drawing/2014/main" id="{CCB18A19-61B1-0923-2DBE-8A983DB08334}"/>
              </a:ext>
            </a:extLst>
          </p:cNvPr>
          <p:cNvCxnSpPr>
            <a:cxnSpLocks/>
          </p:cNvCxnSpPr>
          <p:nvPr/>
        </p:nvCxnSpPr>
        <p:spPr>
          <a:xfrm flipH="1">
            <a:off x="5317934" y="4545630"/>
            <a:ext cx="2958447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4" name="Immagine 13">
            <a:extLst>
              <a:ext uri="{FF2B5EF4-FFF2-40B4-BE49-F238E27FC236}">
                <a16:creationId xmlns:a16="http://schemas.microsoft.com/office/drawing/2014/main" id="{B7C21EBF-87D0-FFFF-4556-23B032E44D32}"/>
              </a:ext>
            </a:extLst>
          </p:cNvPr>
          <p:cNvPicPr>
            <a:picLocks noChangeAspect="1"/>
          </p:cNvPicPr>
          <p:nvPr/>
        </p:nvPicPr>
        <p:blipFill>
          <a:blip r:embed="rId4"/>
          <a:srcRect/>
          <a:stretch/>
        </p:blipFill>
        <p:spPr>
          <a:xfrm rot="10800000">
            <a:off x="8886695" y="1172133"/>
            <a:ext cx="1813764" cy="2007635"/>
          </a:xfrm>
          <a:prstGeom prst="rect">
            <a:avLst/>
          </a:prstGeom>
        </p:spPr>
      </p:pic>
      <p:cxnSp>
        <p:nvCxnSpPr>
          <p:cNvPr id="105" name="Straight Arrow Connector 88">
            <a:extLst>
              <a:ext uri="{FF2B5EF4-FFF2-40B4-BE49-F238E27FC236}">
                <a16:creationId xmlns:a16="http://schemas.microsoft.com/office/drawing/2014/main" id="{051F0E66-AFDB-23C3-FE6E-09509F85D77C}"/>
              </a:ext>
            </a:extLst>
          </p:cNvPr>
          <p:cNvCxnSpPr>
            <a:cxnSpLocks/>
          </p:cNvCxnSpPr>
          <p:nvPr/>
        </p:nvCxnSpPr>
        <p:spPr>
          <a:xfrm>
            <a:off x="9786988" y="1045036"/>
            <a:ext cx="0" cy="1227969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6" name="Rectangle 105">
            <a:extLst>
              <a:ext uri="{FF2B5EF4-FFF2-40B4-BE49-F238E27FC236}">
                <a16:creationId xmlns:a16="http://schemas.microsoft.com/office/drawing/2014/main" id="{D530671B-0139-B702-D5BC-570C00C61A99}"/>
              </a:ext>
            </a:extLst>
          </p:cNvPr>
          <p:cNvSpPr/>
          <p:nvPr/>
        </p:nvSpPr>
        <p:spPr>
          <a:xfrm>
            <a:off x="10987833" y="769412"/>
            <a:ext cx="897896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Fornecimento de ar</a:t>
            </a:r>
          </a:p>
        </p:txBody>
      </p:sp>
      <p:sp>
        <p:nvSpPr>
          <p:cNvPr id="107" name="Rectangle 106">
            <a:extLst>
              <a:ext uri="{FF2B5EF4-FFF2-40B4-BE49-F238E27FC236}">
                <a16:creationId xmlns:a16="http://schemas.microsoft.com/office/drawing/2014/main" id="{694CBA01-8877-EBF0-32C3-3028968983D4}"/>
              </a:ext>
            </a:extLst>
          </p:cNvPr>
          <p:cNvSpPr/>
          <p:nvPr/>
        </p:nvSpPr>
        <p:spPr>
          <a:xfrm>
            <a:off x="10678090" y="1699614"/>
            <a:ext cx="1207640" cy="260319"/>
          </a:xfrm>
          <a:prstGeom prst="rect">
            <a:avLst/>
          </a:prstGeom>
        </p:spPr>
        <p:txBody>
          <a:bodyPr wrap="square" lIns="90000" tIns="72000" rIns="0" bIns="0" anchor="t" anchorCtr="0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Abraçadeira de ligação à terra</a:t>
            </a:r>
          </a:p>
        </p:txBody>
      </p:sp>
      <p:cxnSp>
        <p:nvCxnSpPr>
          <p:cNvPr id="108" name="Straight Arrow Connector 88">
            <a:extLst>
              <a:ext uri="{FF2B5EF4-FFF2-40B4-BE49-F238E27FC236}">
                <a16:creationId xmlns:a16="http://schemas.microsoft.com/office/drawing/2014/main" id="{097A3048-8A69-07E4-103F-D4E5F7D5D174}"/>
              </a:ext>
            </a:extLst>
          </p:cNvPr>
          <p:cNvCxnSpPr>
            <a:cxnSpLocks/>
          </p:cNvCxnSpPr>
          <p:nvPr/>
        </p:nvCxnSpPr>
        <p:spPr>
          <a:xfrm flipH="1">
            <a:off x="9512912" y="1246672"/>
            <a:ext cx="2372817" cy="0"/>
          </a:xfrm>
          <a:prstGeom prst="straightConnector1">
            <a:avLst/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5" name="Group 114">
            <a:extLst>
              <a:ext uri="{FF2B5EF4-FFF2-40B4-BE49-F238E27FC236}">
                <a16:creationId xmlns:a16="http://schemas.microsoft.com/office/drawing/2014/main" id="{286E44DA-3B4D-5305-C803-76B760700AFB}"/>
              </a:ext>
            </a:extLst>
          </p:cNvPr>
          <p:cNvGrpSpPr/>
          <p:nvPr/>
        </p:nvGrpSpPr>
        <p:grpSpPr>
          <a:xfrm>
            <a:off x="9272273" y="3144121"/>
            <a:ext cx="1029909" cy="243380"/>
            <a:chOff x="9269139" y="3128881"/>
            <a:chExt cx="1029909" cy="243380"/>
          </a:xfrm>
        </p:grpSpPr>
        <p:cxnSp>
          <p:nvCxnSpPr>
            <p:cNvPr id="110" name="Straight Arrow Connector 88">
              <a:extLst>
                <a:ext uri="{FF2B5EF4-FFF2-40B4-BE49-F238E27FC236}">
                  <a16:creationId xmlns:a16="http://schemas.microsoft.com/office/drawing/2014/main" id="{FF921978-3A8C-3821-5298-946A3C5F7563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9269139" y="3128881"/>
              <a:ext cx="0" cy="24338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1" name="Straight Arrow Connector 88">
              <a:extLst>
                <a:ext uri="{FF2B5EF4-FFF2-40B4-BE49-F238E27FC236}">
                  <a16:creationId xmlns:a16="http://schemas.microsoft.com/office/drawing/2014/main" id="{96A1BBE3-4E4C-3F1E-91F0-021E853F0259}"/>
                </a:ext>
              </a:extLst>
            </p:cNvPr>
            <p:cNvCxnSpPr>
              <a:cxnSpLocks/>
            </p:cNvCxnSpPr>
            <p:nvPr/>
          </p:nvCxnSpPr>
          <p:spPr>
            <a:xfrm flipV="1">
              <a:off x="10299048" y="3128881"/>
              <a:ext cx="0" cy="243380"/>
            </a:xfrm>
            <a:prstGeom prst="straightConnector1">
              <a:avLst/>
            </a:prstGeom>
            <a:ln>
              <a:solidFill>
                <a:schemeClr val="accent3"/>
              </a:solidFill>
              <a:tailEnd type="oval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12" name="Rectangle 132">
            <a:extLst>
              <a:ext uri="{FF2B5EF4-FFF2-40B4-BE49-F238E27FC236}">
                <a16:creationId xmlns:a16="http://schemas.microsoft.com/office/drawing/2014/main" id="{E28A05EC-9E34-4170-9F11-25A13CB4E6DD}"/>
              </a:ext>
            </a:extLst>
          </p:cNvPr>
          <p:cNvSpPr/>
          <p:nvPr/>
        </p:nvSpPr>
        <p:spPr>
          <a:xfrm>
            <a:off x="9096826" y="563955"/>
            <a:ext cx="1490399" cy="483081"/>
          </a:xfrm>
          <a:prstGeom prst="rect">
            <a:avLst/>
          </a:prstGeom>
          <a:ln w="6350">
            <a:gradFill flip="none" rotWithShape="1">
              <a:gsLst>
                <a:gs pos="98000">
                  <a:srgbClr val="CFEAF4">
                    <a:alpha val="0"/>
                  </a:srgbClr>
                </a:gs>
                <a:gs pos="0">
                  <a:schemeClr val="accent1">
                    <a:lumMod val="5000"/>
                    <a:lumOff val="95000"/>
                    <a:alpha val="0"/>
                  </a:schemeClr>
                </a:gs>
                <a:gs pos="99000">
                  <a:schemeClr val="accent3"/>
                </a:gs>
              </a:gsLst>
              <a:lin ang="5400000" scaled="0"/>
              <a:tileRect/>
            </a:gradFill>
          </a:ln>
        </p:spPr>
        <p:txBody>
          <a:bodyPr wrap="square" lIns="0" tIns="0" rIns="0" bIns="91440" anchor="b">
            <a:spAutoFit/>
          </a:bodyPr>
          <a:lstStyle/>
          <a:p>
            <a:pPr algn="ctr" rtl="0">
              <a:lnSpc>
                <a:spcPct val="120000"/>
              </a:lnSpc>
            </a:pPr>
            <a:r>
              <a:rPr lang="pt-pt" sz="1100" b="0" i="0" u="none" baseline="0"/>
              <a:t>Pega com suporte do cabo de ligação à terra</a:t>
            </a:r>
          </a:p>
        </p:txBody>
      </p:sp>
      <p:cxnSp>
        <p:nvCxnSpPr>
          <p:cNvPr id="113" name="Straight Arrow Connector 88">
            <a:extLst>
              <a:ext uri="{FF2B5EF4-FFF2-40B4-BE49-F238E27FC236}">
                <a16:creationId xmlns:a16="http://schemas.microsoft.com/office/drawing/2014/main" id="{D3DD0836-5950-571A-6AD6-D361264BE908}"/>
              </a:ext>
            </a:extLst>
          </p:cNvPr>
          <p:cNvCxnSpPr>
            <a:cxnSpLocks/>
          </p:cNvCxnSpPr>
          <p:nvPr/>
        </p:nvCxnSpPr>
        <p:spPr>
          <a:xfrm rot="10800000">
            <a:off x="9962782" y="1383172"/>
            <a:ext cx="1895016" cy="312824"/>
          </a:xfrm>
          <a:prstGeom prst="bentConnector3">
            <a:avLst>
              <a:gd name="adj1" fmla="val 99761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4" name="Rectangle 132">
            <a:extLst>
              <a:ext uri="{FF2B5EF4-FFF2-40B4-BE49-F238E27FC236}">
                <a16:creationId xmlns:a16="http://schemas.microsoft.com/office/drawing/2014/main" id="{D386DDE2-D7D7-5A35-1D80-6126DB1A702B}"/>
              </a:ext>
            </a:extLst>
          </p:cNvPr>
          <p:cNvSpPr/>
          <p:nvPr/>
        </p:nvSpPr>
        <p:spPr>
          <a:xfrm>
            <a:off x="9180304" y="3385768"/>
            <a:ext cx="1213846" cy="187615"/>
          </a:xfrm>
          <a:prstGeom prst="rect">
            <a:avLst/>
          </a:prstGeom>
          <a:ln w="6350" cap="rnd" cmpd="thickThin">
            <a:gradFill flip="none" rotWithShape="1">
              <a:gsLst>
                <a:gs pos="94000">
                  <a:schemeClr val="bg2">
                    <a:lumMod val="20000"/>
                    <a:lumOff val="80000"/>
                    <a:alpha val="0"/>
                  </a:schemeClr>
                </a:gs>
                <a:gs pos="99000">
                  <a:schemeClr val="accent3"/>
                </a:gs>
              </a:gsLst>
              <a:lin ang="16200000" scaled="0"/>
              <a:tileRect/>
            </a:gradFill>
          </a:ln>
        </p:spPr>
        <p:txBody>
          <a:bodyPr wrap="square" lIns="0" tIns="0" rIns="0" bIns="0" anchor="t" anchorCtr="0">
            <a:spAutoFit/>
          </a:bodyPr>
          <a:lstStyle/>
          <a:p>
            <a:pPr algn="ctr" rtl="0">
              <a:lnSpc>
                <a:spcPct val="120000"/>
              </a:lnSpc>
            </a:pPr>
            <a:r>
              <a:rPr lang="pt-pt" sz="1100" b="0" i="0" u="none" baseline="0"/>
              <a:t>Suporte de acessórios</a:t>
            </a:r>
          </a:p>
        </p:txBody>
      </p:sp>
      <p:cxnSp>
        <p:nvCxnSpPr>
          <p:cNvPr id="117" name="Straight Arrow Connector 88">
            <a:extLst>
              <a:ext uri="{FF2B5EF4-FFF2-40B4-BE49-F238E27FC236}">
                <a16:creationId xmlns:a16="http://schemas.microsoft.com/office/drawing/2014/main" id="{659D28EA-88DF-5581-DBAA-043892501ADB}"/>
              </a:ext>
            </a:extLst>
          </p:cNvPr>
          <p:cNvCxnSpPr>
            <a:cxnSpLocks/>
          </p:cNvCxnSpPr>
          <p:nvPr/>
        </p:nvCxnSpPr>
        <p:spPr>
          <a:xfrm rot="10800000" flipV="1">
            <a:off x="5317934" y="2125544"/>
            <a:ext cx="2958446" cy="61395"/>
          </a:xfrm>
          <a:prstGeom prst="bentConnector3">
            <a:avLst>
              <a:gd name="adj1" fmla="val 99904"/>
            </a:avLst>
          </a:prstGeom>
          <a:ln>
            <a:solidFill>
              <a:schemeClr val="accent3"/>
            </a:solidFill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1" name="Rectangle 120">
            <a:extLst>
              <a:ext uri="{FF2B5EF4-FFF2-40B4-BE49-F238E27FC236}">
                <a16:creationId xmlns:a16="http://schemas.microsoft.com/office/drawing/2014/main" id="{3BF07788-0796-E357-EF44-3F78F3C09813}"/>
              </a:ext>
            </a:extLst>
          </p:cNvPr>
          <p:cNvSpPr/>
          <p:nvPr/>
        </p:nvSpPr>
        <p:spPr>
          <a:xfrm>
            <a:off x="479421" y="1649860"/>
            <a:ext cx="3312127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l" rtl="0">
              <a:lnSpc>
                <a:spcPct val="120000"/>
              </a:lnSpc>
            </a:pPr>
            <a:r>
              <a:rPr lang="pt-pt" sz="1100" b="0" i="0" u="none" baseline="0"/>
              <a:t>Indicador de vácuo</a:t>
            </a:r>
            <a:r>
              <a:rPr lang="pt-pt" sz="1100" b="0" i="0" u="sng" baseline="0"/>
              <a:t> </a:t>
            </a:r>
            <a:r>
              <a:rPr lang="pt-pt" sz="1100" b="0" i="0" u="none" baseline="0"/>
              <a:t>para uma monitorização constante do desempenho e da eficiência de filtração</a:t>
            </a:r>
          </a:p>
        </p:txBody>
      </p:sp>
      <p:sp>
        <p:nvSpPr>
          <p:cNvPr id="122" name="Rectangle 68">
            <a:extLst>
              <a:ext uri="{FF2B5EF4-FFF2-40B4-BE49-F238E27FC236}">
                <a16:creationId xmlns:a16="http://schemas.microsoft.com/office/drawing/2014/main" id="{22A124F1-FD1B-AFC7-D7F4-ACA8E25ADF15}"/>
              </a:ext>
            </a:extLst>
          </p:cNvPr>
          <p:cNvSpPr/>
          <p:nvPr/>
        </p:nvSpPr>
        <p:spPr>
          <a:xfrm>
            <a:off x="6025687" y="1649860"/>
            <a:ext cx="2250694" cy="483081"/>
          </a:xfrm>
          <a:prstGeom prst="rect">
            <a:avLst/>
          </a:prstGeom>
        </p:spPr>
        <p:txBody>
          <a:bodyPr wrap="square" lIns="0" tIns="0" rIns="0" bIns="91440" anchor="b">
            <a:spAutoFit/>
          </a:bodyPr>
          <a:lstStyle/>
          <a:p>
            <a:pPr algn="r" rtl="0">
              <a:lnSpc>
                <a:spcPct val="120000"/>
              </a:lnSpc>
            </a:pPr>
            <a:r>
              <a:rPr lang="pt-pt" sz="1100" b="0" i="0" u="none" baseline="0"/>
              <a:t>Invólucro da bomba sem poeiras com filtro ULPA a jusante opcional</a:t>
            </a:r>
          </a:p>
        </p:txBody>
      </p:sp>
    </p:spTree>
    <p:extLst>
      <p:ext uri="{BB962C8B-B14F-4D97-AF65-F5344CB8AC3E}">
        <p14:creationId xmlns:p14="http://schemas.microsoft.com/office/powerpoint/2010/main" val="37654713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C3001B2-2B9C-F509-A182-700AFF108755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Descrição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O sistema de limpeza do filtro de puxar é um sistema manual com </a:t>
            </a:r>
            <a:b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o qual o operador pode limpar facilmente o filtro e manter a eficiência </a:t>
            </a:r>
            <a:b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do aspirador elevada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Como funciona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A limpeza do filtro é feita com a entrada da máquina fechada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Três aberturas e fechos rápidos da aba azul criam um fluxo contra-impulsivo para o filtro que é limpo desta forma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Repita rapidamente o processo de limpeza três vezes para uma limpeza perfeita do filtro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Valor e benefícios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Manutenção reduzida 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O desempenho estável acelera o trabalho de limpeza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Método seguro de limpeza do filtro sem parar a sucção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7D397CA-EAD5-A599-8D31-11E39DD7B316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81429C30-CC4C-25CB-1D26-631C5B3A247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4</a:t>
            </a:fld>
            <a:endParaRPr lang="pt-pt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5FA9D2D7-324B-D96F-AE04-9B1E0A1FF85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VHC011 Z1 EXA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57C24E8-A0B9-9B96-3B50-4CC29340103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PullClean</a:t>
            </a:r>
            <a:r>
              <a:rPr lang="pt-PT" b="1" i="0" u="none" baseline="0"/>
              <a:t>™</a:t>
            </a:r>
            <a:endParaRPr lang="pt-pt" b="1" i="0" u="none" baseline="0"/>
          </a:p>
        </p:txBody>
      </p:sp>
      <p:pic>
        <p:nvPicPr>
          <p:cNvPr id="12" name="Immagine 12">
            <a:extLst>
              <a:ext uri="{FF2B5EF4-FFF2-40B4-BE49-F238E27FC236}">
                <a16:creationId xmlns:a16="http://schemas.microsoft.com/office/drawing/2014/main" id="{3F837744-F022-9D43-8975-B609B1BA887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608781" y="-11332"/>
            <a:ext cx="5537089" cy="6296462"/>
          </a:xfrm>
          <a:prstGeom prst="rect">
            <a:avLst/>
          </a:prstGeom>
        </p:spPr>
      </p:pic>
      <p:sp>
        <p:nvSpPr>
          <p:cNvPr id="13" name="Oval 14">
            <a:extLst>
              <a:ext uri="{FF2B5EF4-FFF2-40B4-BE49-F238E27FC236}">
                <a16:creationId xmlns:a16="http://schemas.microsoft.com/office/drawing/2014/main" id="{69A41C37-6264-6297-83B9-3A71C1FDBD24}"/>
              </a:ext>
            </a:extLst>
          </p:cNvPr>
          <p:cNvSpPr/>
          <p:nvPr/>
        </p:nvSpPr>
        <p:spPr>
          <a:xfrm>
            <a:off x="10244522" y="989790"/>
            <a:ext cx="1468053" cy="1468053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r>
              <a:rPr lang="pt-pt" sz="1500" b="0" i="0" u="none" baseline="0">
                <a:solidFill>
                  <a:schemeClr val="bg1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Limpeza </a:t>
            </a:r>
            <a:br>
              <a:rPr lang="pt-pt" sz="1500" b="0" i="0" u="none" baseline="0">
                <a:solidFill>
                  <a:schemeClr val="bg1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</a:br>
            <a:r>
              <a:rPr lang="pt-pt" sz="1500" b="0" i="0" u="none" baseline="0">
                <a:solidFill>
                  <a:schemeClr val="bg1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de filtro eficiente</a:t>
            </a:r>
          </a:p>
        </p:txBody>
      </p:sp>
    </p:spTree>
    <p:extLst>
      <p:ext uri="{BB962C8B-B14F-4D97-AF65-F5344CB8AC3E}">
        <p14:creationId xmlns:p14="http://schemas.microsoft.com/office/powerpoint/2010/main" val="17193986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4AD5539-E8DB-10DF-B899-5BD29188A72D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/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Descrição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Os modelos SBS estão equipados com o sistema de saco de segurança. </a:t>
            </a:r>
            <a:b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ste sistema de eliminação permite eliminar o material recolhido sem </a:t>
            </a:r>
            <a:b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ntrar em contacto com o próprio material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Como funciona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É construída com um filtro de lã CLASSE M e uma entrada de saco especial com válvula de guilhotina de segurança, protegida externamente por um</a:t>
            </a:r>
            <a:b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aco de plástico condutor e resistente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O filtro de saco recolhe o material em segurança, o saco de plástico </a:t>
            </a:r>
            <a:br>
              <a:rPr lang="pt-pt" sz="1200">
                <a:solidFill>
                  <a:srgbClr val="28313F"/>
                </a:solidFill>
                <a:latin typeface="Roboto Light"/>
              </a:rPr>
            </a:b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xterno protege o operador do contacto com o saco de filtragem durante </a:t>
            </a:r>
            <a:b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o procedimento de eliminação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A válvula de guilhotina, quando fechada manualmente, evita qualquer </a:t>
            </a:r>
            <a:b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fuga de poeira da entrada do sistema de saco de segurança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Valor e benefícios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Proteção perfeita de acordo com os diferentes tipos de poeiras perigosas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Proteção secundária com filtro HEPA 14 certificado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Sistema de eliminação seguro, fácil e rápido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4B73A19-9EDB-562E-1F5D-E9D7E93E49A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00297A4-57BC-91D3-1238-318617D95D0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5</a:t>
            </a:fld>
            <a:endParaRPr lang="pt-pt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61DDAFC-FDD7-3C0E-2C52-E38896F3BF1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VHC010 Z1 EXA SBS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7A07E06F-5490-02D3-44E4-79F9EC43A27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Sistema</a:t>
            </a:r>
            <a:r>
              <a:rPr lang="pt-pt" b="0" i="0" u="none" baseline="0"/>
              <a:t> </a:t>
            </a:r>
            <a:r>
              <a:rPr lang="pt-pt" b="1" i="0" u="none" baseline="0"/>
              <a:t>de</a:t>
            </a:r>
            <a:r>
              <a:rPr lang="pt-pt" b="0" i="0" u="none" baseline="0"/>
              <a:t> </a:t>
            </a:r>
            <a:r>
              <a:rPr lang="pt-pt" b="1" i="0" u="none" baseline="0"/>
              <a:t>saco</a:t>
            </a:r>
            <a:r>
              <a:rPr lang="pt-pt" b="0" i="0" u="none" baseline="0"/>
              <a:t> </a:t>
            </a:r>
            <a:r>
              <a:rPr lang="pt-pt" b="1" i="0" u="none" baseline="0"/>
              <a:t>de</a:t>
            </a:r>
            <a:r>
              <a:rPr lang="pt-pt" b="0" i="0" u="none" baseline="0"/>
              <a:t> </a:t>
            </a:r>
            <a:r>
              <a:rPr lang="pt-pt" b="1" i="0" u="none" baseline="0"/>
              <a:t>segurança</a:t>
            </a:r>
          </a:p>
        </p:txBody>
      </p:sp>
      <p:pic>
        <p:nvPicPr>
          <p:cNvPr id="8" name="Immagine 8">
            <a:extLst>
              <a:ext uri="{FF2B5EF4-FFF2-40B4-BE49-F238E27FC236}">
                <a16:creationId xmlns:a16="http://schemas.microsoft.com/office/drawing/2014/main" id="{BB85B482-014D-0B86-E507-76DE755D6E2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461"/>
          <a:stretch/>
        </p:blipFill>
        <p:spPr>
          <a:xfrm>
            <a:off x="6240779" y="0"/>
            <a:ext cx="5951221" cy="6273798"/>
          </a:xfrm>
          <a:prstGeom prst="rect">
            <a:avLst/>
          </a:prstGeom>
        </p:spPr>
      </p:pic>
      <p:sp>
        <p:nvSpPr>
          <p:cNvPr id="9" name="Oval 14">
            <a:extLst>
              <a:ext uri="{FF2B5EF4-FFF2-40B4-BE49-F238E27FC236}">
                <a16:creationId xmlns:a16="http://schemas.microsoft.com/office/drawing/2014/main" id="{07746130-BD46-B8F6-9777-C2A195CA6190}"/>
              </a:ext>
            </a:extLst>
          </p:cNvPr>
          <p:cNvSpPr/>
          <p:nvPr/>
        </p:nvSpPr>
        <p:spPr>
          <a:xfrm>
            <a:off x="10244522" y="941641"/>
            <a:ext cx="1468053" cy="1468053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r>
              <a:rPr lang="pt-pt" sz="1500" b="0" i="0" u="none" baseline="0">
                <a:solidFill>
                  <a:schemeClr val="bg1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Sem exposição ao pó</a:t>
            </a:r>
          </a:p>
        </p:txBody>
      </p:sp>
    </p:spTree>
    <p:extLst>
      <p:ext uri="{BB962C8B-B14F-4D97-AF65-F5344CB8AC3E}">
        <p14:creationId xmlns:p14="http://schemas.microsoft.com/office/powerpoint/2010/main" val="1497042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4393091-D482-C31A-B3A5-AE5992ECC8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914A72FC-68C5-4C0B-47F0-40FCE004D99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4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DB14578-DD32-FBB6-4D7D-08F531D8FA3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Acessórios e peças opcionais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A65B288C-85EC-7904-115E-17D33AD76D73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D4AD45C0-8769-5FDF-C9CA-031AC9AD78A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6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8552906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5BF0F9-3C2A-4CCA-D33C-BC36CDD26F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AE00503-7469-3651-6D66-E2BC3D913EBC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CE22F046-C9C1-E565-5F90-605260F7294D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7</a:t>
            </a:fld>
            <a:endParaRPr lang="pt-pt"/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C777FBBF-58CA-6354-CAB7-E5B52B9E84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8647112" cy="388013"/>
          </a:xfrm>
        </p:spPr>
        <p:txBody>
          <a:bodyPr/>
          <a:lstStyle/>
          <a:p>
            <a:pPr algn="l" rtl="0"/>
            <a:r>
              <a:rPr lang="pt-pt" b="1" i="0" u="none" baseline="0"/>
              <a:t>Mini IVS VHC010 Z1 / EXP e VHC011 Z1 / EXP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CE585D87-25BB-3578-9583-99D9BB2A09BC}"/>
              </a:ext>
            </a:extLst>
          </p:cNvPr>
          <p:cNvSpPr txBox="1">
            <a:spLocks/>
          </p:cNvSpPr>
          <p:nvPr/>
        </p:nvSpPr>
        <p:spPr>
          <a:xfrm>
            <a:off x="475520" y="873877"/>
            <a:ext cx="8647111" cy="3764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/>
              <a:t>Acessórios EXA Ø40 mm (também para IECEX e CID1)</a:t>
            </a:r>
          </a:p>
        </p:txBody>
      </p:sp>
      <p:pic>
        <p:nvPicPr>
          <p:cNvPr id="17" name="Immagine 18">
            <a:extLst>
              <a:ext uri="{FF2B5EF4-FFF2-40B4-BE49-F238E27FC236}">
                <a16:creationId xmlns:a16="http://schemas.microsoft.com/office/drawing/2014/main" id="{664B1078-1BBC-9485-DB58-6DCA4E0D3E58}"/>
              </a:ext>
            </a:extLst>
          </p:cNvPr>
          <p:cNvPicPr>
            <a:picLocks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17191" b="-15856"/>
          <a:stretch/>
        </p:blipFill>
        <p:spPr>
          <a:xfrm>
            <a:off x="10971911" y="488645"/>
            <a:ext cx="740664" cy="740664"/>
          </a:xfrm>
          <a:prstGeom prst="flowChartConnector">
            <a:avLst/>
          </a:prstGeom>
          <a:solidFill>
            <a:schemeClr val="accent3"/>
          </a:solidFill>
        </p:spPr>
      </p:pic>
      <p:sp>
        <p:nvSpPr>
          <p:cNvPr id="18" name="CasellaDiTesto 19">
            <a:extLst>
              <a:ext uri="{FF2B5EF4-FFF2-40B4-BE49-F238E27FC236}">
                <a16:creationId xmlns:a16="http://schemas.microsoft.com/office/drawing/2014/main" id="{0894D7DA-C3B8-3BF0-5C63-3272DC3F87EE}"/>
              </a:ext>
            </a:extLst>
          </p:cNvPr>
          <p:cNvSpPr txBox="1"/>
          <p:nvPr/>
        </p:nvSpPr>
        <p:spPr>
          <a:xfrm>
            <a:off x="9481724" y="643534"/>
            <a:ext cx="140618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pt-pt" sz="1400" b="0" i="0" u="none" baseline="0"/>
              <a:t>Conexão EXA com PIN</a:t>
            </a:r>
          </a:p>
        </p:txBody>
      </p:sp>
      <p:sp>
        <p:nvSpPr>
          <p:cNvPr id="83" name="Content Placeholder 7">
            <a:extLst>
              <a:ext uri="{FF2B5EF4-FFF2-40B4-BE49-F238E27FC236}">
                <a16:creationId xmlns:a16="http://schemas.microsoft.com/office/drawing/2014/main" id="{415C2BBD-1F82-F290-F278-C5828547D462}"/>
              </a:ext>
            </a:extLst>
          </p:cNvPr>
          <p:cNvSpPr txBox="1">
            <a:spLocks/>
          </p:cNvSpPr>
          <p:nvPr/>
        </p:nvSpPr>
        <p:spPr>
          <a:xfrm>
            <a:off x="9126537" y="1421420"/>
            <a:ext cx="2586038" cy="485238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1080000" rIns="180000" bIns="18288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pt-pt" sz="900" b="0" i="0" u="none" baseline="0"/>
              <a:t>Mangueira antiestática EXA 3 m FDA,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pt-pt" sz="900" b="0" i="0" u="none" baseline="0"/>
              <a:t>Conexão curva EXA AISI 304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pt-pt" sz="900" b="0" i="0" u="none" baseline="0"/>
              <a:t>Cone condutor EXA preto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pt-pt" sz="900" b="0" i="0" u="none" baseline="0"/>
              <a:t>Lança plana EXA AISI 304 </a:t>
            </a:r>
            <a:br>
              <a:rPr lang="pt-pt" sz="900" b="0" i="0" u="none" baseline="0"/>
            </a:br>
            <a:r>
              <a:rPr lang="pt-pt" sz="900" b="0" i="0" u="none" baseline="0"/>
              <a:t>300 mm </a:t>
            </a:r>
            <a:r>
              <a:rPr lang="pt-pt" sz="900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NOVO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pt-pt" sz="900" b="0" i="0" u="none" baseline="0"/>
              <a:t>Bocal condutor EXA Ø40-32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endParaRPr lang="pt-pt" sz="900"/>
          </a:p>
        </p:txBody>
      </p:sp>
      <p:grpSp>
        <p:nvGrpSpPr>
          <p:cNvPr id="84" name="Group 83">
            <a:extLst>
              <a:ext uri="{FF2B5EF4-FFF2-40B4-BE49-F238E27FC236}">
                <a16:creationId xmlns:a16="http://schemas.microsoft.com/office/drawing/2014/main" id="{664D9018-64A9-1257-583F-19C866E56144}"/>
              </a:ext>
            </a:extLst>
          </p:cNvPr>
          <p:cNvGrpSpPr/>
          <p:nvPr/>
        </p:nvGrpSpPr>
        <p:grpSpPr>
          <a:xfrm>
            <a:off x="9590232" y="4140671"/>
            <a:ext cx="1671325" cy="1897681"/>
            <a:chOff x="9635497" y="4104813"/>
            <a:chExt cx="1580451" cy="1794500"/>
          </a:xfrm>
        </p:grpSpPr>
        <p:grpSp>
          <p:nvGrpSpPr>
            <p:cNvPr id="85" name="Gruppo 60">
              <a:extLst>
                <a:ext uri="{FF2B5EF4-FFF2-40B4-BE49-F238E27FC236}">
                  <a16:creationId xmlns:a16="http://schemas.microsoft.com/office/drawing/2014/main" id="{F98CCD56-C74B-9D57-406B-EC79C1408E04}"/>
                </a:ext>
              </a:extLst>
            </p:cNvPr>
            <p:cNvGrpSpPr/>
            <p:nvPr/>
          </p:nvGrpSpPr>
          <p:grpSpPr>
            <a:xfrm>
              <a:off x="9803651" y="4901091"/>
              <a:ext cx="1412297" cy="998222"/>
              <a:chOff x="3797626" y="2642162"/>
              <a:chExt cx="753811" cy="532799"/>
            </a:xfrm>
          </p:grpSpPr>
          <p:pic>
            <p:nvPicPr>
              <p:cNvPr id="89" name="Immagine 63">
                <a:extLst>
                  <a:ext uri="{FF2B5EF4-FFF2-40B4-BE49-F238E27FC236}">
                    <a16:creationId xmlns:a16="http://schemas.microsoft.com/office/drawing/2014/main" id="{477F3B9F-C16D-8074-3790-CBE2C3A2550F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797626" y="3048421"/>
                <a:ext cx="246250" cy="118074"/>
              </a:xfrm>
              <a:prstGeom prst="rect">
                <a:avLst/>
              </a:prstGeom>
            </p:spPr>
          </p:pic>
          <p:pic>
            <p:nvPicPr>
              <p:cNvPr id="90" name="Immagine 65">
                <a:extLst>
                  <a:ext uri="{FF2B5EF4-FFF2-40B4-BE49-F238E27FC236}">
                    <a16:creationId xmlns:a16="http://schemas.microsoft.com/office/drawing/2014/main" id="{79E108FC-1C61-EB5E-E59C-8F6E96D1AED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43876" y="2642162"/>
                <a:ext cx="507561" cy="532799"/>
              </a:xfrm>
              <a:prstGeom prst="rect">
                <a:avLst/>
              </a:prstGeom>
            </p:spPr>
          </p:pic>
        </p:grpSp>
        <p:pic>
          <p:nvPicPr>
            <p:cNvPr id="86" name="Immagine 88">
              <a:extLst>
                <a:ext uri="{FF2B5EF4-FFF2-40B4-BE49-F238E27FC236}">
                  <a16:creationId xmlns:a16="http://schemas.microsoft.com/office/drawing/2014/main" id="{1CE1D3E0-AADD-A61D-4634-739ABECDD77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9879609" flipH="1">
              <a:off x="9635497" y="4684528"/>
              <a:ext cx="657319" cy="403557"/>
            </a:xfrm>
            <a:prstGeom prst="rect">
              <a:avLst/>
            </a:prstGeom>
          </p:spPr>
        </p:pic>
        <p:pic>
          <p:nvPicPr>
            <p:cNvPr id="87" name="Immagine 90">
              <a:extLst>
                <a:ext uri="{FF2B5EF4-FFF2-40B4-BE49-F238E27FC236}">
                  <a16:creationId xmlns:a16="http://schemas.microsoft.com/office/drawing/2014/main" id="{946D507E-3B81-E6AB-58AB-97568B9E840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8132877">
              <a:off x="10209870" y="4200332"/>
              <a:ext cx="625814" cy="434776"/>
            </a:xfrm>
            <a:prstGeom prst="rect">
              <a:avLst/>
            </a:prstGeom>
          </p:spPr>
        </p:pic>
        <p:pic>
          <p:nvPicPr>
            <p:cNvPr id="88" name="Immagine 89">
              <a:extLst>
                <a:ext uri="{FF2B5EF4-FFF2-40B4-BE49-F238E27FC236}">
                  <a16:creationId xmlns:a16="http://schemas.microsoft.com/office/drawing/2014/main" id="{1FEB52CD-66AA-8018-0A06-CAFEB45DDA6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9546738">
              <a:off x="10486991" y="4549260"/>
              <a:ext cx="552313" cy="302286"/>
            </a:xfrm>
            <a:prstGeom prst="rect">
              <a:avLst/>
            </a:prstGeom>
          </p:spPr>
        </p:pic>
      </p:grpSp>
      <p:sp>
        <p:nvSpPr>
          <p:cNvPr id="91" name="Content Placeholder 5">
            <a:extLst>
              <a:ext uri="{FF2B5EF4-FFF2-40B4-BE49-F238E27FC236}">
                <a16:creationId xmlns:a16="http://schemas.microsoft.com/office/drawing/2014/main" id="{3B30944B-3C5F-9156-DF7A-A2433F9F501A}"/>
              </a:ext>
            </a:extLst>
          </p:cNvPr>
          <p:cNvSpPr txBox="1">
            <a:spLocks/>
          </p:cNvSpPr>
          <p:nvPr/>
        </p:nvSpPr>
        <p:spPr>
          <a:xfrm>
            <a:off x="6244167" y="1421420"/>
            <a:ext cx="2586038" cy="485238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1080000" rIns="180000" bIns="18288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pt-pt" sz="900" b="0" i="0" u="none" baseline="0"/>
              <a:t>Mangueira antiestática EXA 3 m,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pt-pt" sz="900" b="0" i="0" u="none" baseline="0"/>
              <a:t>Conexão curva EXA AISI 304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pt-pt" sz="900" b="0" i="0" u="none" baseline="0"/>
              <a:t>Cone antiestático EXA AISI 304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pt-pt" sz="900" b="0" i="0" u="none" baseline="0"/>
              <a:t>EXA AISI 304 lança plana 300 mm </a:t>
            </a:r>
            <a:r>
              <a:rPr lang="pt-pt" sz="900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NOVO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pt-pt" sz="900" b="0" i="0" u="none" baseline="0"/>
              <a:t>Escova redonda antiestática </a:t>
            </a:r>
            <a:br>
              <a:rPr lang="pt-pt" sz="900" b="0" i="0" u="none" baseline="0"/>
            </a:br>
            <a:r>
              <a:rPr lang="pt-pt" sz="900" b="0" i="0" u="none" baseline="0"/>
              <a:t>EXA AISI 304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pt-pt" sz="900" b="0" i="0" u="none" baseline="0"/>
              <a:t>Pega pequena EXA (para ligação </a:t>
            </a:r>
            <a:br>
              <a:rPr lang="pt-pt" sz="900" b="0" i="0" u="none" baseline="0"/>
            </a:br>
            <a:r>
              <a:rPr lang="pt-pt" sz="900" b="0" i="0" u="none" baseline="0"/>
              <a:t>curva) </a:t>
            </a:r>
            <a:r>
              <a:rPr lang="pt-pt" sz="900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NOVO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pt-pt" sz="900" b="0" i="0" u="none" baseline="0"/>
              <a:t>Bocal móvel para pavimentos </a:t>
            </a:r>
            <a:br>
              <a:rPr lang="pt-pt" sz="900" b="0" i="0" u="none" baseline="0"/>
            </a:br>
            <a:r>
              <a:rPr lang="pt-pt" sz="900" b="0" i="0" u="none" baseline="0"/>
              <a:t>EXA AISI 304 300 mm </a:t>
            </a:r>
            <a:r>
              <a:rPr lang="pt-pt" sz="900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NOVO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endParaRPr lang="pt-pt" sz="900"/>
          </a:p>
        </p:txBody>
      </p:sp>
      <p:pic>
        <p:nvPicPr>
          <p:cNvPr id="92" name="Immagine 62">
            <a:extLst>
              <a:ext uri="{FF2B5EF4-FFF2-40B4-BE49-F238E27FC236}">
                <a16:creationId xmlns:a16="http://schemas.microsoft.com/office/drawing/2014/main" id="{09FDD835-7666-ADC0-7F9A-D1DF0482D5C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83129" y="4745831"/>
            <a:ext cx="1043976" cy="972358"/>
          </a:xfrm>
          <a:prstGeom prst="rect">
            <a:avLst/>
          </a:prstGeom>
        </p:spPr>
      </p:pic>
      <p:pic>
        <p:nvPicPr>
          <p:cNvPr id="93" name="Immagine 93">
            <a:extLst>
              <a:ext uri="{FF2B5EF4-FFF2-40B4-BE49-F238E27FC236}">
                <a16:creationId xmlns:a16="http://schemas.microsoft.com/office/drawing/2014/main" id="{8C370B7C-BB65-3C68-095F-75A36A64DEA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62759" y="4674858"/>
            <a:ext cx="515359" cy="1408648"/>
          </a:xfrm>
          <a:prstGeom prst="rect">
            <a:avLst/>
          </a:prstGeom>
        </p:spPr>
      </p:pic>
      <p:pic>
        <p:nvPicPr>
          <p:cNvPr id="94" name="Immagine 74">
            <a:extLst>
              <a:ext uri="{FF2B5EF4-FFF2-40B4-BE49-F238E27FC236}">
                <a16:creationId xmlns:a16="http://schemas.microsoft.com/office/drawing/2014/main" id="{3466858C-706A-0D3B-5C1F-A8F89375ABB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5504426">
            <a:off x="6528772" y="4732552"/>
            <a:ext cx="682233" cy="473973"/>
          </a:xfrm>
          <a:prstGeom prst="rect">
            <a:avLst/>
          </a:prstGeom>
        </p:spPr>
      </p:pic>
      <p:pic>
        <p:nvPicPr>
          <p:cNvPr id="95" name="Immagine 5">
            <a:extLst>
              <a:ext uri="{FF2B5EF4-FFF2-40B4-BE49-F238E27FC236}">
                <a16:creationId xmlns:a16="http://schemas.microsoft.com/office/drawing/2014/main" id="{D76CBB27-37DE-234D-4F99-90B3C4585FF4}"/>
              </a:ext>
            </a:extLst>
          </p:cNvPr>
          <p:cNvPicPr>
            <a:picLocks noChangeAspect="1"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945218" y="5107081"/>
            <a:ext cx="898810" cy="978028"/>
          </a:xfrm>
          <a:prstGeom prst="rect">
            <a:avLst/>
          </a:prstGeom>
        </p:spPr>
      </p:pic>
      <p:pic>
        <p:nvPicPr>
          <p:cNvPr id="96" name="Immagine 81">
            <a:extLst>
              <a:ext uri="{FF2B5EF4-FFF2-40B4-BE49-F238E27FC236}">
                <a16:creationId xmlns:a16="http://schemas.microsoft.com/office/drawing/2014/main" id="{FC5BB908-D1EC-A0B9-72A8-A7DB6E37C51E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9455951">
            <a:off x="6953482" y="4710961"/>
            <a:ext cx="552313" cy="302286"/>
          </a:xfrm>
          <a:prstGeom prst="rect">
            <a:avLst/>
          </a:prstGeom>
        </p:spPr>
      </p:pic>
      <p:sp>
        <p:nvSpPr>
          <p:cNvPr id="97" name="Content Placeholder 3">
            <a:extLst>
              <a:ext uri="{FF2B5EF4-FFF2-40B4-BE49-F238E27FC236}">
                <a16:creationId xmlns:a16="http://schemas.microsoft.com/office/drawing/2014/main" id="{5178C5E5-B831-4326-5BA5-70999A1D4544}"/>
              </a:ext>
            </a:extLst>
          </p:cNvPr>
          <p:cNvSpPr txBox="1">
            <a:spLocks/>
          </p:cNvSpPr>
          <p:nvPr/>
        </p:nvSpPr>
        <p:spPr>
          <a:xfrm>
            <a:off x="3361796" y="1421420"/>
            <a:ext cx="2586038" cy="485238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1080000" rIns="180000" bIns="18288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pt-pt" sz="900" b="0" i="0" u="none" baseline="0"/>
              <a:t>Mangueira antiestática EXA 3 m poliuretano FDA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pt-pt" sz="900" b="0" i="0" u="none" baseline="0"/>
              <a:t>Conexão curva EXA AISI 304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pt-pt" sz="900" b="0" i="0" u="none" baseline="0"/>
              <a:t>Cone de silicone antiestático transparente EXA 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pt-pt" sz="900" b="0" i="0" u="none" baseline="0"/>
              <a:t>Lança plana EXA AISI 304 </a:t>
            </a:r>
            <a:br>
              <a:rPr lang="pt-pt" sz="900" b="0" i="0" u="none" baseline="0"/>
            </a:br>
            <a:r>
              <a:rPr lang="pt-pt" sz="900" b="0" i="0" u="none" baseline="0"/>
              <a:t>300 mm </a:t>
            </a:r>
            <a:r>
              <a:rPr lang="pt-pt" sz="900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NOVO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pt-pt" sz="900" b="0" i="0" u="none" baseline="0"/>
              <a:t>Bocal de silicone EXA com </a:t>
            </a:r>
            <a:br>
              <a:rPr lang="pt-pt" sz="900" b="0" i="0" u="none" baseline="0"/>
            </a:br>
            <a:r>
              <a:rPr lang="pt-pt" sz="900" b="0" i="0" u="none" baseline="0"/>
              <a:t>redução D40-32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endParaRPr lang="pt-pt" sz="900"/>
          </a:p>
        </p:txBody>
      </p:sp>
      <p:pic>
        <p:nvPicPr>
          <p:cNvPr id="98" name="Immagine 68">
            <a:extLst>
              <a:ext uri="{FF2B5EF4-FFF2-40B4-BE49-F238E27FC236}">
                <a16:creationId xmlns:a16="http://schemas.microsoft.com/office/drawing/2014/main" id="{A53A1429-62F8-FD27-3A1D-6CDA0BA8CAE3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18546698">
            <a:off x="4404267" y="4567328"/>
            <a:ext cx="688865" cy="478580"/>
          </a:xfrm>
          <a:prstGeom prst="rect">
            <a:avLst/>
          </a:prstGeom>
        </p:spPr>
      </p:pic>
      <p:grpSp>
        <p:nvGrpSpPr>
          <p:cNvPr id="99" name="Gruppo 14">
            <a:extLst>
              <a:ext uri="{FF2B5EF4-FFF2-40B4-BE49-F238E27FC236}">
                <a16:creationId xmlns:a16="http://schemas.microsoft.com/office/drawing/2014/main" id="{BA284F2C-ED19-631E-B10A-964236A331CF}"/>
              </a:ext>
            </a:extLst>
          </p:cNvPr>
          <p:cNvGrpSpPr/>
          <p:nvPr/>
        </p:nvGrpSpPr>
        <p:grpSpPr>
          <a:xfrm>
            <a:off x="3980613" y="5140139"/>
            <a:ext cx="1324735" cy="905840"/>
            <a:chOff x="11994" y="205378"/>
            <a:chExt cx="686834" cy="461711"/>
          </a:xfrm>
        </p:grpSpPr>
        <p:pic>
          <p:nvPicPr>
            <p:cNvPr id="100" name="Immagine 16">
              <a:extLst>
                <a:ext uri="{FF2B5EF4-FFF2-40B4-BE49-F238E27FC236}">
                  <a16:creationId xmlns:a16="http://schemas.microsoft.com/office/drawing/2014/main" id="{3BB95F4E-60F5-040D-92D2-817990D5826C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240384" y="205378"/>
              <a:ext cx="458444" cy="445707"/>
            </a:xfrm>
            <a:prstGeom prst="rect">
              <a:avLst/>
            </a:prstGeom>
          </p:spPr>
        </p:pic>
        <p:pic>
          <p:nvPicPr>
            <p:cNvPr id="101" name="Immagine 20">
              <a:extLst>
                <a:ext uri="{FF2B5EF4-FFF2-40B4-BE49-F238E27FC236}">
                  <a16:creationId xmlns:a16="http://schemas.microsoft.com/office/drawing/2014/main" id="{89CC0A5F-9D55-4504-0D0E-94488A8A261D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1994" y="555401"/>
              <a:ext cx="267311" cy="111688"/>
            </a:xfrm>
            <a:prstGeom prst="rect">
              <a:avLst/>
            </a:prstGeom>
          </p:spPr>
        </p:pic>
      </p:grpSp>
      <p:pic>
        <p:nvPicPr>
          <p:cNvPr id="102" name="Immagine 15">
            <a:extLst>
              <a:ext uri="{FF2B5EF4-FFF2-40B4-BE49-F238E27FC236}">
                <a16:creationId xmlns:a16="http://schemas.microsoft.com/office/drawing/2014/main" id="{C1F10E64-183F-40E8-0B8A-6810013A9993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790483" flipH="1">
            <a:off x="3830520" y="4971649"/>
            <a:ext cx="609415" cy="512422"/>
          </a:xfrm>
          <a:prstGeom prst="rect">
            <a:avLst/>
          </a:prstGeom>
        </p:spPr>
      </p:pic>
      <p:pic>
        <p:nvPicPr>
          <p:cNvPr id="103" name="Immagine 72">
            <a:extLst>
              <a:ext uri="{FF2B5EF4-FFF2-40B4-BE49-F238E27FC236}">
                <a16:creationId xmlns:a16="http://schemas.microsoft.com/office/drawing/2014/main" id="{4A7358C4-C50B-CD71-6554-80A229AD770C}"/>
              </a:ext>
            </a:extLst>
          </p:cNvPr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131801" flipH="1">
            <a:off x="3766524" y="5032447"/>
            <a:ext cx="703888" cy="383684"/>
          </a:xfrm>
          <a:prstGeom prst="rect">
            <a:avLst/>
          </a:prstGeom>
        </p:spPr>
      </p:pic>
      <p:sp>
        <p:nvSpPr>
          <p:cNvPr id="104" name="Content Placeholder 1">
            <a:extLst>
              <a:ext uri="{FF2B5EF4-FFF2-40B4-BE49-F238E27FC236}">
                <a16:creationId xmlns:a16="http://schemas.microsoft.com/office/drawing/2014/main" id="{2C829702-7FE7-0E60-AD7F-6D052FE55C0A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479425" y="1421419"/>
            <a:ext cx="2586038" cy="4852380"/>
          </a:xfrm>
          <a:solidFill>
            <a:schemeClr val="bg1"/>
          </a:solidFill>
        </p:spPr>
        <p:txBody>
          <a:bodyPr tIns="1080000" bIns="182880"/>
          <a:lstStyle/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pt-pt" sz="900" b="0" i="0" u="none" baseline="0"/>
              <a:t>Mangueira antiestática EXA 3 m 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pt-pt" sz="900" b="0" i="0" u="none" baseline="0"/>
              <a:t>Conexão curva EXA</a:t>
            </a:r>
          </a:p>
          <a:p>
            <a:pPr marL="201168" indent="-201168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pt-pt" sz="900" b="0" i="0" u="none" baseline="0"/>
              <a:t>Cone condutor EXA</a:t>
            </a:r>
          </a:p>
          <a:p>
            <a:pPr algn="l" rtl="0">
              <a:lnSpc>
                <a:spcPct val="110000"/>
              </a:lnSpc>
            </a:pPr>
            <a:endParaRPr lang="pt-pt" sz="900"/>
          </a:p>
        </p:txBody>
      </p:sp>
      <p:grpSp>
        <p:nvGrpSpPr>
          <p:cNvPr id="105" name="Gruppo 67">
            <a:extLst>
              <a:ext uri="{FF2B5EF4-FFF2-40B4-BE49-F238E27FC236}">
                <a16:creationId xmlns:a16="http://schemas.microsoft.com/office/drawing/2014/main" id="{2C4A603D-6883-23A3-557E-AFF992C75CDC}"/>
              </a:ext>
            </a:extLst>
          </p:cNvPr>
          <p:cNvGrpSpPr/>
          <p:nvPr/>
        </p:nvGrpSpPr>
        <p:grpSpPr>
          <a:xfrm>
            <a:off x="976052" y="4985328"/>
            <a:ext cx="1651559" cy="1090174"/>
            <a:chOff x="4978312" y="1209593"/>
            <a:chExt cx="1651559" cy="1090174"/>
          </a:xfrm>
        </p:grpSpPr>
        <p:grpSp>
          <p:nvGrpSpPr>
            <p:cNvPr id="106" name="Gruppo 52">
              <a:extLst>
                <a:ext uri="{FF2B5EF4-FFF2-40B4-BE49-F238E27FC236}">
                  <a16:creationId xmlns:a16="http://schemas.microsoft.com/office/drawing/2014/main" id="{D3E9273F-AD7A-200A-7F80-5DA4758F5086}"/>
                </a:ext>
              </a:extLst>
            </p:cNvPr>
            <p:cNvGrpSpPr/>
            <p:nvPr/>
          </p:nvGrpSpPr>
          <p:grpSpPr>
            <a:xfrm>
              <a:off x="4978312" y="1209593"/>
              <a:ext cx="1651559" cy="1090174"/>
              <a:chOff x="3775331" y="2642162"/>
              <a:chExt cx="776106" cy="532799"/>
            </a:xfrm>
          </p:grpSpPr>
          <p:pic>
            <p:nvPicPr>
              <p:cNvPr id="108" name="Immagine 36">
                <a:extLst>
                  <a:ext uri="{FF2B5EF4-FFF2-40B4-BE49-F238E27FC236}">
                    <a16:creationId xmlns:a16="http://schemas.microsoft.com/office/drawing/2014/main" id="{2FDA45A7-3602-81B2-F4A0-358E75CA2A56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3797626" y="3048421"/>
                <a:ext cx="246250" cy="118074"/>
              </a:xfrm>
              <a:prstGeom prst="rect">
                <a:avLst/>
              </a:prstGeom>
            </p:spPr>
          </p:pic>
          <p:pic>
            <p:nvPicPr>
              <p:cNvPr id="109" name="Immagine 37">
                <a:extLst>
                  <a:ext uri="{FF2B5EF4-FFF2-40B4-BE49-F238E27FC236}">
                    <a16:creationId xmlns:a16="http://schemas.microsoft.com/office/drawing/2014/main" id="{66D4B548-D12F-EF68-DDAF-918DB21DF99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8"/>
              <a:stretch>
                <a:fillRect/>
              </a:stretch>
            </p:blipFill>
            <p:spPr>
              <a:xfrm>
                <a:off x="3775331" y="2651363"/>
                <a:ext cx="196668" cy="358444"/>
              </a:xfrm>
              <a:prstGeom prst="rect">
                <a:avLst/>
              </a:prstGeom>
            </p:spPr>
          </p:pic>
          <p:pic>
            <p:nvPicPr>
              <p:cNvPr id="110" name="Immagine 38">
                <a:extLst>
                  <a:ext uri="{FF2B5EF4-FFF2-40B4-BE49-F238E27FC236}">
                    <a16:creationId xmlns:a16="http://schemas.microsoft.com/office/drawing/2014/main" id="{D211CFB3-BD59-5D90-B156-4AE730AA8C6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/>
              <a:stretch>
                <a:fillRect/>
              </a:stretch>
            </p:blipFill>
            <p:spPr>
              <a:xfrm>
                <a:off x="4043876" y="2642162"/>
                <a:ext cx="507561" cy="532799"/>
              </a:xfrm>
              <a:prstGeom prst="rect">
                <a:avLst/>
              </a:prstGeom>
            </p:spPr>
          </p:pic>
        </p:grpSp>
        <p:pic>
          <p:nvPicPr>
            <p:cNvPr id="107" name="Immagine 59">
              <a:extLst>
                <a:ext uri="{FF2B5EF4-FFF2-40B4-BE49-F238E27FC236}">
                  <a16:creationId xmlns:a16="http://schemas.microsoft.com/office/drawing/2014/main" id="{69A2F6FC-3727-8D80-7DF6-C8F75B9B0B4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5504426">
              <a:off x="4875922" y="1359312"/>
              <a:ext cx="688865" cy="478580"/>
            </a:xfrm>
            <a:prstGeom prst="rect">
              <a:avLst/>
            </a:prstGeom>
          </p:spPr>
        </p:pic>
      </p:grpSp>
      <p:sp>
        <p:nvSpPr>
          <p:cNvPr id="111" name="Text Placeholder 2">
            <a:extLst>
              <a:ext uri="{FF2B5EF4-FFF2-40B4-BE49-F238E27FC236}">
                <a16:creationId xmlns:a16="http://schemas.microsoft.com/office/drawing/2014/main" id="{E84C8C6C-75F7-9B3D-7E3A-F92E2653750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423351"/>
            <a:ext cx="2586038" cy="818896"/>
          </a:xfrm>
        </p:spPr>
        <p:txBody>
          <a:bodyPr/>
          <a:lstStyle/>
          <a:p>
            <a:pPr algn="l" rtl="0">
              <a:lnSpc>
                <a:spcPct val="100000"/>
              </a:lnSpc>
            </a:pPr>
            <a:r>
              <a:rPr lang="pt-pt" sz="1200" b="0" i="0" u="none" baseline="0"/>
              <a:t>Básico Ø40 mm EXA </a:t>
            </a:r>
            <a:br>
              <a:rPr lang="pt-pt" sz="1200" b="0" i="0" u="none" baseline="0"/>
            </a:br>
            <a:r>
              <a:rPr lang="pt-pt" sz="1200" b="0" i="0" u="none" baseline="0">
                <a:latin typeface="+mn-lt"/>
                <a:ea typeface="+mn-lt"/>
                <a:cs typeface="+mn-lt"/>
              </a:rPr>
              <a:t>(também disponível na </a:t>
            </a:r>
            <a:br>
              <a:rPr lang="pt-pt" sz="1200" b="0" i="0" u="none" baseline="0">
                <a:latin typeface="+mn-lt"/>
                <a:ea typeface="+mn-lt"/>
                <a:cs typeface="+mn-lt"/>
              </a:rPr>
            </a:br>
            <a:r>
              <a:rPr lang="pt-pt" sz="1200" b="0" i="0" u="none" baseline="0">
                <a:latin typeface="+mn-lt"/>
                <a:ea typeface="+mn-lt"/>
                <a:cs typeface="+mn-lt"/>
              </a:rPr>
              <a:t>versão combinada: CB)</a:t>
            </a:r>
          </a:p>
          <a:p>
            <a:pPr algn="l" rtl="0">
              <a:lnSpc>
                <a:spcPct val="100000"/>
              </a:lnSpc>
            </a:pPr>
            <a:r>
              <a:rPr lang="pt-pt" sz="1200" b="0" i="0" u="none" baseline="0">
                <a:solidFill>
                  <a:srgbClr val="8997A4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cs typeface="Roboto Light italic" panose="02000000000000000000" pitchFamily="2" charset="0"/>
              </a:rPr>
              <a:t>4072400773</a:t>
            </a:r>
          </a:p>
          <a:p>
            <a:pPr algn="l" rtl="0">
              <a:lnSpc>
                <a:spcPct val="100000"/>
              </a:lnSpc>
            </a:pPr>
            <a:endParaRPr lang="pt-pt"/>
          </a:p>
        </p:txBody>
      </p:sp>
      <p:sp>
        <p:nvSpPr>
          <p:cNvPr id="112" name="Text Placeholder 4">
            <a:extLst>
              <a:ext uri="{FF2B5EF4-FFF2-40B4-BE49-F238E27FC236}">
                <a16:creationId xmlns:a16="http://schemas.microsoft.com/office/drawing/2014/main" id="{995F1486-1762-6468-DC9D-17A0965FE4A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3361795" y="1423351"/>
            <a:ext cx="2586038" cy="818896"/>
          </a:xfrm>
        </p:spPr>
        <p:txBody>
          <a:bodyPr/>
          <a:lstStyle/>
          <a:p>
            <a:pPr algn="l" rtl="0">
              <a:lnSpc>
                <a:spcPct val="100000"/>
              </a:lnSpc>
            </a:pPr>
            <a:r>
              <a:rPr lang="pt-pt" sz="1200" b="1" i="0" u="none" baseline="0"/>
              <a:t>Maquinaria FDA Ø40 mm EXA </a:t>
            </a:r>
          </a:p>
          <a:p>
            <a:pPr algn="l" rtl="0">
              <a:lnSpc>
                <a:spcPct val="100000"/>
              </a:lnSpc>
            </a:pPr>
            <a:r>
              <a:rPr lang="pt-pt" sz="1200" b="0" i="0" u="none" baseline="0">
                <a:latin typeface="+mn-lt"/>
                <a:ea typeface="+mn-lt"/>
                <a:cs typeface="+mn-lt"/>
              </a:rPr>
              <a:t>(completa) Ø40 mm</a:t>
            </a:r>
          </a:p>
          <a:p>
            <a:pPr algn="l" rtl="0">
              <a:lnSpc>
                <a:spcPct val="100000"/>
              </a:lnSpc>
            </a:pPr>
            <a:r>
              <a:rPr lang="pt-pt" sz="1200" b="0" i="0" u="none" baseline="0">
                <a:solidFill>
                  <a:srgbClr val="8997A4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cs typeface="Roboto Light italic" panose="02000000000000000000" pitchFamily="2" charset="0"/>
              </a:rPr>
              <a:t>4072400822</a:t>
            </a:r>
          </a:p>
        </p:txBody>
      </p:sp>
      <p:sp>
        <p:nvSpPr>
          <p:cNvPr id="113" name="Text Placeholder 6">
            <a:extLst>
              <a:ext uri="{FF2B5EF4-FFF2-40B4-BE49-F238E27FC236}">
                <a16:creationId xmlns:a16="http://schemas.microsoft.com/office/drawing/2014/main" id="{7FFD0169-B3B4-CF17-7378-1EC516B8B635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44166" y="1423351"/>
            <a:ext cx="2586038" cy="898708"/>
          </a:xfrm>
        </p:spPr>
        <p:txBody>
          <a:bodyPr/>
          <a:lstStyle/>
          <a:p>
            <a:pPr algn="l" rtl="0">
              <a:lnSpc>
                <a:spcPct val="100000"/>
              </a:lnSpc>
            </a:pPr>
            <a:r>
              <a:rPr lang="pt-pt" sz="1200" b="1" i="0" u="none" baseline="0"/>
              <a:t>Limpeza geral </a:t>
            </a:r>
            <a:br>
              <a:rPr lang="pt-pt" sz="1200" b="1" i="0" u="none" baseline="0"/>
            </a:br>
            <a:r>
              <a:rPr lang="pt-pt" sz="1200" b="1" i="0" u="none" baseline="0"/>
              <a:t>Ø40 mm EXA</a:t>
            </a:r>
            <a:endParaRPr lang="pt-pt" sz="1200" b="0" i="1">
              <a:solidFill>
                <a:schemeClr val="tx2"/>
              </a:solidFill>
              <a:latin typeface="+mn-lt"/>
            </a:endParaRPr>
          </a:p>
          <a:p>
            <a:pPr algn="l" rtl="0">
              <a:lnSpc>
                <a:spcPct val="100000"/>
              </a:lnSpc>
            </a:pPr>
            <a:r>
              <a:rPr lang="pt-pt" sz="1200" b="0" i="0" u="none" baseline="0">
                <a:solidFill>
                  <a:srgbClr val="8997A4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cs typeface="Roboto Light italic" panose="02000000000000000000" pitchFamily="2" charset="0"/>
              </a:rPr>
              <a:t>4072400824</a:t>
            </a:r>
          </a:p>
          <a:p>
            <a:pPr algn="l" rtl="0">
              <a:lnSpc>
                <a:spcPct val="100000"/>
              </a:lnSpc>
            </a:pPr>
            <a:endParaRPr lang="pt-pt" sz="1200"/>
          </a:p>
        </p:txBody>
      </p:sp>
      <p:sp>
        <p:nvSpPr>
          <p:cNvPr id="114" name="Text Placeholder 8">
            <a:extLst>
              <a:ext uri="{FF2B5EF4-FFF2-40B4-BE49-F238E27FC236}">
                <a16:creationId xmlns:a16="http://schemas.microsoft.com/office/drawing/2014/main" id="{8EEB39B0-9A9F-AD7F-87E9-28388A307B58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9126537" y="1423351"/>
            <a:ext cx="2586038" cy="818896"/>
          </a:xfrm>
        </p:spPr>
        <p:txBody>
          <a:bodyPr/>
          <a:lstStyle/>
          <a:p>
            <a:pPr algn="l" rtl="0">
              <a:lnSpc>
                <a:spcPct val="100000"/>
              </a:lnSpc>
            </a:pPr>
            <a:r>
              <a:rPr lang="pt-pt" sz="1200" b="1" i="0" u="none" baseline="0"/>
              <a:t>Maquinaria condutora </a:t>
            </a:r>
            <a:br>
              <a:rPr lang="pt-pt" sz="1200"/>
            </a:br>
            <a:r>
              <a:rPr lang="pt-pt" sz="1200" b="1" i="0" u="none" baseline="0"/>
              <a:t>Ø40 mm EXA </a:t>
            </a:r>
            <a:r>
              <a:rPr lang="pt-pt" sz="1200" b="0" i="0" u="none" baseline="0">
                <a:latin typeface="+mn-lt"/>
                <a:ea typeface="+mn-lt"/>
                <a:cs typeface="+mn-lt"/>
              </a:rPr>
              <a:t>(completa) </a:t>
            </a:r>
            <a:br>
              <a:rPr lang="pt-pt" sz="1200" b="0">
                <a:latin typeface="+mn-lt"/>
              </a:rPr>
            </a:br>
            <a:r>
              <a:rPr lang="pt-pt" sz="1200" b="0" i="0" u="none" baseline="0">
                <a:latin typeface="+mn-lt"/>
                <a:ea typeface="+mn-lt"/>
                <a:cs typeface="+mn-lt"/>
              </a:rPr>
              <a:t>Ø40 mm</a:t>
            </a:r>
          </a:p>
          <a:p>
            <a:pPr algn="l" rtl="0">
              <a:lnSpc>
                <a:spcPct val="100000"/>
              </a:lnSpc>
            </a:pPr>
            <a:r>
              <a:rPr lang="pt-pt" sz="1200" b="0" i="0" u="none" baseline="0">
                <a:solidFill>
                  <a:srgbClr val="8997A4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cs typeface="Roboto Light italic" panose="02000000000000000000" pitchFamily="2" charset="0"/>
              </a:rPr>
              <a:t>4072400823</a:t>
            </a:r>
          </a:p>
          <a:p>
            <a:pPr algn="l" rtl="0">
              <a:lnSpc>
                <a:spcPct val="100000"/>
              </a:lnSpc>
            </a:pPr>
            <a:endParaRPr lang="pt-pt" sz="1200"/>
          </a:p>
        </p:txBody>
      </p:sp>
      <p:sp>
        <p:nvSpPr>
          <p:cNvPr id="115" name="Ovale 23">
            <a:extLst>
              <a:ext uri="{FF2B5EF4-FFF2-40B4-BE49-F238E27FC236}">
                <a16:creationId xmlns:a16="http://schemas.microsoft.com/office/drawing/2014/main" id="{4EE8B74E-6C4B-1C0B-4ABB-608435412AF7}"/>
              </a:ext>
            </a:extLst>
          </p:cNvPr>
          <p:cNvSpPr/>
          <p:nvPr/>
        </p:nvSpPr>
        <p:spPr>
          <a:xfrm>
            <a:off x="2481299" y="5809490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1</a:t>
            </a:r>
          </a:p>
        </p:txBody>
      </p:sp>
      <p:sp>
        <p:nvSpPr>
          <p:cNvPr id="116" name="Ovale 25">
            <a:extLst>
              <a:ext uri="{FF2B5EF4-FFF2-40B4-BE49-F238E27FC236}">
                <a16:creationId xmlns:a16="http://schemas.microsoft.com/office/drawing/2014/main" id="{08B89946-B85C-FCFF-9A6A-782C2A36B1C2}"/>
              </a:ext>
            </a:extLst>
          </p:cNvPr>
          <p:cNvSpPr/>
          <p:nvPr/>
        </p:nvSpPr>
        <p:spPr>
          <a:xfrm>
            <a:off x="767709" y="5821666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3</a:t>
            </a:r>
          </a:p>
        </p:txBody>
      </p:sp>
      <p:sp>
        <p:nvSpPr>
          <p:cNvPr id="117" name="Ovale 24">
            <a:extLst>
              <a:ext uri="{FF2B5EF4-FFF2-40B4-BE49-F238E27FC236}">
                <a16:creationId xmlns:a16="http://schemas.microsoft.com/office/drawing/2014/main" id="{751A844D-BEF8-8F09-CCD3-83420EE3F318}"/>
              </a:ext>
            </a:extLst>
          </p:cNvPr>
          <p:cNvSpPr/>
          <p:nvPr/>
        </p:nvSpPr>
        <p:spPr>
          <a:xfrm>
            <a:off x="839089" y="4967955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2</a:t>
            </a:r>
          </a:p>
        </p:txBody>
      </p:sp>
      <p:sp>
        <p:nvSpPr>
          <p:cNvPr id="118" name="Ovale 26">
            <a:extLst>
              <a:ext uri="{FF2B5EF4-FFF2-40B4-BE49-F238E27FC236}">
                <a16:creationId xmlns:a16="http://schemas.microsoft.com/office/drawing/2014/main" id="{64F375B2-BD2C-A791-7957-F6E4A1FF73F2}"/>
              </a:ext>
            </a:extLst>
          </p:cNvPr>
          <p:cNvSpPr/>
          <p:nvPr/>
        </p:nvSpPr>
        <p:spPr>
          <a:xfrm>
            <a:off x="5281993" y="5812727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1</a:t>
            </a:r>
          </a:p>
        </p:txBody>
      </p:sp>
      <p:sp>
        <p:nvSpPr>
          <p:cNvPr id="119" name="Ovale 27">
            <a:extLst>
              <a:ext uri="{FF2B5EF4-FFF2-40B4-BE49-F238E27FC236}">
                <a16:creationId xmlns:a16="http://schemas.microsoft.com/office/drawing/2014/main" id="{02E7A820-DB1F-1045-9EB4-6D730045320C}"/>
              </a:ext>
            </a:extLst>
          </p:cNvPr>
          <p:cNvSpPr/>
          <p:nvPr/>
        </p:nvSpPr>
        <p:spPr>
          <a:xfrm>
            <a:off x="4289735" y="4547724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2</a:t>
            </a:r>
          </a:p>
        </p:txBody>
      </p:sp>
      <p:sp>
        <p:nvSpPr>
          <p:cNvPr id="120" name="Ovale 28">
            <a:extLst>
              <a:ext uri="{FF2B5EF4-FFF2-40B4-BE49-F238E27FC236}">
                <a16:creationId xmlns:a16="http://schemas.microsoft.com/office/drawing/2014/main" id="{1EE94BB7-812E-056D-46A4-8EF696C3F33B}"/>
              </a:ext>
            </a:extLst>
          </p:cNvPr>
          <p:cNvSpPr/>
          <p:nvPr/>
        </p:nvSpPr>
        <p:spPr>
          <a:xfrm>
            <a:off x="3665397" y="5833084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3</a:t>
            </a:r>
          </a:p>
        </p:txBody>
      </p:sp>
      <p:sp>
        <p:nvSpPr>
          <p:cNvPr id="121" name="Ovale 29">
            <a:extLst>
              <a:ext uri="{FF2B5EF4-FFF2-40B4-BE49-F238E27FC236}">
                <a16:creationId xmlns:a16="http://schemas.microsoft.com/office/drawing/2014/main" id="{9CCB4A52-C12B-CAD3-8AB5-33781836D7EF}"/>
              </a:ext>
            </a:extLst>
          </p:cNvPr>
          <p:cNvSpPr/>
          <p:nvPr/>
        </p:nvSpPr>
        <p:spPr>
          <a:xfrm>
            <a:off x="5207354" y="5023753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4</a:t>
            </a:r>
          </a:p>
        </p:txBody>
      </p:sp>
      <p:sp>
        <p:nvSpPr>
          <p:cNvPr id="122" name="Ovale 30">
            <a:extLst>
              <a:ext uri="{FF2B5EF4-FFF2-40B4-BE49-F238E27FC236}">
                <a16:creationId xmlns:a16="http://schemas.microsoft.com/office/drawing/2014/main" id="{D09B44A3-08C4-8D36-1CD5-237207BF14CF}"/>
              </a:ext>
            </a:extLst>
          </p:cNvPr>
          <p:cNvSpPr/>
          <p:nvPr/>
        </p:nvSpPr>
        <p:spPr>
          <a:xfrm>
            <a:off x="3945540" y="4820736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5</a:t>
            </a:r>
          </a:p>
        </p:txBody>
      </p:sp>
      <p:sp>
        <p:nvSpPr>
          <p:cNvPr id="123" name="Ovale 91">
            <a:extLst>
              <a:ext uri="{FF2B5EF4-FFF2-40B4-BE49-F238E27FC236}">
                <a16:creationId xmlns:a16="http://schemas.microsoft.com/office/drawing/2014/main" id="{0B93A92F-0AFA-A544-3B34-3538792EC476}"/>
              </a:ext>
            </a:extLst>
          </p:cNvPr>
          <p:cNvSpPr/>
          <p:nvPr/>
        </p:nvSpPr>
        <p:spPr>
          <a:xfrm>
            <a:off x="11188319" y="5725416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1</a:t>
            </a:r>
          </a:p>
        </p:txBody>
      </p:sp>
      <p:sp>
        <p:nvSpPr>
          <p:cNvPr id="124" name="Ovale 92">
            <a:extLst>
              <a:ext uri="{FF2B5EF4-FFF2-40B4-BE49-F238E27FC236}">
                <a16:creationId xmlns:a16="http://schemas.microsoft.com/office/drawing/2014/main" id="{B1766650-68DE-33C7-B184-594EF42EE9FE}"/>
              </a:ext>
            </a:extLst>
          </p:cNvPr>
          <p:cNvSpPr/>
          <p:nvPr/>
        </p:nvSpPr>
        <p:spPr>
          <a:xfrm>
            <a:off x="9539710" y="5709136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3</a:t>
            </a:r>
          </a:p>
        </p:txBody>
      </p:sp>
      <p:sp>
        <p:nvSpPr>
          <p:cNvPr id="125" name="Ovale 95">
            <a:extLst>
              <a:ext uri="{FF2B5EF4-FFF2-40B4-BE49-F238E27FC236}">
                <a16:creationId xmlns:a16="http://schemas.microsoft.com/office/drawing/2014/main" id="{08CF5DD7-5E43-BCF1-2EA3-ACA3E39961CB}"/>
              </a:ext>
            </a:extLst>
          </p:cNvPr>
          <p:cNvSpPr/>
          <p:nvPr/>
        </p:nvSpPr>
        <p:spPr>
          <a:xfrm>
            <a:off x="9692552" y="4686242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5</a:t>
            </a:r>
          </a:p>
        </p:txBody>
      </p:sp>
      <p:sp>
        <p:nvSpPr>
          <p:cNvPr id="126" name="Ovale 96">
            <a:extLst>
              <a:ext uri="{FF2B5EF4-FFF2-40B4-BE49-F238E27FC236}">
                <a16:creationId xmlns:a16="http://schemas.microsoft.com/office/drawing/2014/main" id="{CBD00228-95DB-20A1-4C08-05E03B1FEDD8}"/>
              </a:ext>
            </a:extLst>
          </p:cNvPr>
          <p:cNvSpPr/>
          <p:nvPr/>
        </p:nvSpPr>
        <p:spPr>
          <a:xfrm>
            <a:off x="10070875" y="4297593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2</a:t>
            </a:r>
          </a:p>
        </p:txBody>
      </p:sp>
      <p:sp>
        <p:nvSpPr>
          <p:cNvPr id="127" name="Ovale 97">
            <a:extLst>
              <a:ext uri="{FF2B5EF4-FFF2-40B4-BE49-F238E27FC236}">
                <a16:creationId xmlns:a16="http://schemas.microsoft.com/office/drawing/2014/main" id="{1D6D8E30-A3D7-BFB8-1386-EEFDF9974B9E}"/>
              </a:ext>
            </a:extLst>
          </p:cNvPr>
          <p:cNvSpPr/>
          <p:nvPr/>
        </p:nvSpPr>
        <p:spPr>
          <a:xfrm>
            <a:off x="11081756" y="4845369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4</a:t>
            </a:r>
          </a:p>
        </p:txBody>
      </p:sp>
      <p:sp>
        <p:nvSpPr>
          <p:cNvPr id="128" name="Ovale 34">
            <a:extLst>
              <a:ext uri="{FF2B5EF4-FFF2-40B4-BE49-F238E27FC236}">
                <a16:creationId xmlns:a16="http://schemas.microsoft.com/office/drawing/2014/main" id="{CFA1AFAD-5B7C-C390-475D-836B30FF7646}"/>
              </a:ext>
            </a:extLst>
          </p:cNvPr>
          <p:cNvSpPr/>
          <p:nvPr/>
        </p:nvSpPr>
        <p:spPr>
          <a:xfrm>
            <a:off x="7718099" y="4583116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2</a:t>
            </a:r>
          </a:p>
        </p:txBody>
      </p:sp>
      <p:sp>
        <p:nvSpPr>
          <p:cNvPr id="129" name="Ovale 35">
            <a:extLst>
              <a:ext uri="{FF2B5EF4-FFF2-40B4-BE49-F238E27FC236}">
                <a16:creationId xmlns:a16="http://schemas.microsoft.com/office/drawing/2014/main" id="{DD1FF8D3-95A4-EF3A-3EB0-38C46D68EDC6}"/>
              </a:ext>
            </a:extLst>
          </p:cNvPr>
          <p:cNvSpPr/>
          <p:nvPr/>
        </p:nvSpPr>
        <p:spPr>
          <a:xfrm>
            <a:off x="6364208" y="5694302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3</a:t>
            </a:r>
          </a:p>
        </p:txBody>
      </p:sp>
      <p:sp>
        <p:nvSpPr>
          <p:cNvPr id="130" name="Ovale 40">
            <a:extLst>
              <a:ext uri="{FF2B5EF4-FFF2-40B4-BE49-F238E27FC236}">
                <a16:creationId xmlns:a16="http://schemas.microsoft.com/office/drawing/2014/main" id="{EF2C0B4F-3FB8-0907-4056-833F33697800}"/>
              </a:ext>
            </a:extLst>
          </p:cNvPr>
          <p:cNvSpPr/>
          <p:nvPr/>
        </p:nvSpPr>
        <p:spPr>
          <a:xfrm>
            <a:off x="7160635" y="4518481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4</a:t>
            </a:r>
          </a:p>
        </p:txBody>
      </p:sp>
      <p:sp>
        <p:nvSpPr>
          <p:cNvPr id="131" name="Ovale 41">
            <a:extLst>
              <a:ext uri="{FF2B5EF4-FFF2-40B4-BE49-F238E27FC236}">
                <a16:creationId xmlns:a16="http://schemas.microsoft.com/office/drawing/2014/main" id="{C78BAFF4-CF0F-587F-0D36-A72ED6411BD8}"/>
              </a:ext>
            </a:extLst>
          </p:cNvPr>
          <p:cNvSpPr/>
          <p:nvPr/>
        </p:nvSpPr>
        <p:spPr>
          <a:xfrm>
            <a:off x="8332505" y="5281572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6</a:t>
            </a:r>
          </a:p>
        </p:txBody>
      </p:sp>
      <p:sp>
        <p:nvSpPr>
          <p:cNvPr id="132" name="Ovale 42">
            <a:extLst>
              <a:ext uri="{FF2B5EF4-FFF2-40B4-BE49-F238E27FC236}">
                <a16:creationId xmlns:a16="http://schemas.microsoft.com/office/drawing/2014/main" id="{FA19C357-343C-B2F8-5207-EFBFD1E0F75A}"/>
              </a:ext>
            </a:extLst>
          </p:cNvPr>
          <p:cNvSpPr/>
          <p:nvPr/>
        </p:nvSpPr>
        <p:spPr>
          <a:xfrm>
            <a:off x="8294884" y="4608833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7</a:t>
            </a:r>
          </a:p>
        </p:txBody>
      </p:sp>
      <p:sp>
        <p:nvSpPr>
          <p:cNvPr id="133" name="Ovale 39">
            <a:extLst>
              <a:ext uri="{FF2B5EF4-FFF2-40B4-BE49-F238E27FC236}">
                <a16:creationId xmlns:a16="http://schemas.microsoft.com/office/drawing/2014/main" id="{9188EE87-CC14-4A2C-AEB6-C1D8EAB0E837}"/>
              </a:ext>
            </a:extLst>
          </p:cNvPr>
          <p:cNvSpPr/>
          <p:nvPr/>
        </p:nvSpPr>
        <p:spPr>
          <a:xfrm>
            <a:off x="6406285" y="4989243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5</a:t>
            </a:r>
          </a:p>
        </p:txBody>
      </p:sp>
      <p:sp>
        <p:nvSpPr>
          <p:cNvPr id="134" name="Ovale 33">
            <a:extLst>
              <a:ext uri="{FF2B5EF4-FFF2-40B4-BE49-F238E27FC236}">
                <a16:creationId xmlns:a16="http://schemas.microsoft.com/office/drawing/2014/main" id="{965DACAB-A7D6-FC2F-6BF3-9A20E3145735}"/>
              </a:ext>
            </a:extLst>
          </p:cNvPr>
          <p:cNvSpPr/>
          <p:nvPr/>
        </p:nvSpPr>
        <p:spPr>
          <a:xfrm>
            <a:off x="7855532" y="5741752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1</a:t>
            </a:r>
          </a:p>
        </p:txBody>
      </p:sp>
      <p:pic>
        <p:nvPicPr>
          <p:cNvPr id="135" name="Immagine 49">
            <a:extLst>
              <a:ext uri="{FF2B5EF4-FFF2-40B4-BE49-F238E27FC236}">
                <a16:creationId xmlns:a16="http://schemas.microsoft.com/office/drawing/2014/main" id="{A8E671DA-CA0A-DDE1-E130-424D9A178903}"/>
              </a:ext>
            </a:extLst>
          </p:cNvPr>
          <p:cNvPicPr>
            <a:picLocks noChangeAspect="1"/>
          </p:cNvPicPr>
          <p:nvPr/>
        </p:nvPicPr>
        <p:blipFill rotWithShape="1">
          <a:blip r:embed="rId1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599" b="12456"/>
          <a:stretch/>
        </p:blipFill>
        <p:spPr>
          <a:xfrm>
            <a:off x="7988876" y="4814703"/>
            <a:ext cx="625966" cy="3285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15715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A400733-31B3-10F4-28A2-1791AFC5EE6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E972BF22-904A-9878-52FF-2D61863217A9}"/>
              </a:ext>
            </a:extLst>
          </p:cNvPr>
          <p:cNvSpPr>
            <a:spLocks noGrp="1"/>
          </p:cNvSpPr>
          <p:nvPr>
            <p:ph type="ftr" sz="quarter" idx="30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B614776-2FB6-46B9-1CA3-088E1882947B}"/>
              </a:ext>
            </a:extLst>
          </p:cNvPr>
          <p:cNvSpPr>
            <a:spLocks noGrp="1"/>
          </p:cNvSpPr>
          <p:nvPr>
            <p:ph type="sldNum" sz="quarter" idx="3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8</a:t>
            </a:fld>
            <a:endParaRPr lang="pt-pt"/>
          </a:p>
        </p:txBody>
      </p:sp>
      <p:sp>
        <p:nvSpPr>
          <p:cNvPr id="21" name="Title 20">
            <a:extLst>
              <a:ext uri="{FF2B5EF4-FFF2-40B4-BE49-F238E27FC236}">
                <a16:creationId xmlns:a16="http://schemas.microsoft.com/office/drawing/2014/main" id="{90579FEA-539C-5174-8C44-A7DBB4DD64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8647112" cy="388013"/>
          </a:xfrm>
        </p:spPr>
        <p:txBody>
          <a:bodyPr/>
          <a:lstStyle/>
          <a:p>
            <a:pPr algn="l" rtl="0"/>
            <a:r>
              <a:rPr lang="pt-pt" b="1" i="0" u="none" baseline="0"/>
              <a:t>Mini IVS VHC010 e VHC011 poeira combustível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499CC532-7955-41FA-2DD7-7F325A647C00}"/>
              </a:ext>
            </a:extLst>
          </p:cNvPr>
          <p:cNvSpPr txBox="1">
            <a:spLocks/>
          </p:cNvSpPr>
          <p:nvPr/>
        </p:nvSpPr>
        <p:spPr>
          <a:xfrm>
            <a:off x="475520" y="873877"/>
            <a:ext cx="8647111" cy="37645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99104" indent="0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/>
              <a:t>Kits de acessórios ACD Ø40 mm </a:t>
            </a:r>
          </a:p>
        </p:txBody>
      </p:sp>
      <p:pic>
        <p:nvPicPr>
          <p:cNvPr id="2" name="Immagine 18">
            <a:extLst>
              <a:ext uri="{FF2B5EF4-FFF2-40B4-BE49-F238E27FC236}">
                <a16:creationId xmlns:a16="http://schemas.microsoft.com/office/drawing/2014/main" id="{EB6C311F-7B4A-4CEE-BB30-4B1CD550041B}"/>
              </a:ext>
            </a:extLst>
          </p:cNvPr>
          <p:cNvPicPr>
            <a:picLocks/>
          </p:cNvPicPr>
          <p:nvPr/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3871" b="-10807"/>
          <a:stretch/>
        </p:blipFill>
        <p:spPr>
          <a:xfrm>
            <a:off x="10973863" y="480063"/>
            <a:ext cx="740664" cy="740664"/>
          </a:xfrm>
          <a:prstGeom prst="flowChartConnector">
            <a:avLst/>
          </a:prstGeom>
          <a:solidFill>
            <a:schemeClr val="accent3"/>
          </a:solidFill>
        </p:spPr>
      </p:pic>
      <p:sp>
        <p:nvSpPr>
          <p:cNvPr id="3" name="CasellaDiTesto 19">
            <a:extLst>
              <a:ext uri="{FF2B5EF4-FFF2-40B4-BE49-F238E27FC236}">
                <a16:creationId xmlns:a16="http://schemas.microsoft.com/office/drawing/2014/main" id="{8E22D034-1C3E-306F-44D8-E8A72B634C2B}"/>
              </a:ext>
            </a:extLst>
          </p:cNvPr>
          <p:cNvSpPr txBox="1"/>
          <p:nvPr/>
        </p:nvSpPr>
        <p:spPr>
          <a:xfrm>
            <a:off x="9483676" y="634952"/>
            <a:ext cx="140618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pt-pt" sz="1400" b="0" i="0" u="none" baseline="0"/>
              <a:t>Ligação da manga ACD</a:t>
            </a:r>
          </a:p>
        </p:txBody>
      </p:sp>
      <p:sp>
        <p:nvSpPr>
          <p:cNvPr id="67" name="Content Placeholder 3">
            <a:extLst>
              <a:ext uri="{FF2B5EF4-FFF2-40B4-BE49-F238E27FC236}">
                <a16:creationId xmlns:a16="http://schemas.microsoft.com/office/drawing/2014/main" id="{20356BFE-91B9-7568-1B49-F5F8A911F597}"/>
              </a:ext>
            </a:extLst>
          </p:cNvPr>
          <p:cNvSpPr txBox="1">
            <a:spLocks/>
          </p:cNvSpPr>
          <p:nvPr/>
        </p:nvSpPr>
        <p:spPr>
          <a:xfrm>
            <a:off x="8153400" y="1419099"/>
            <a:ext cx="3559175" cy="485238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684000" rIns="180000" bIns="216000" rtlCol="0">
            <a:noAutofit/>
          </a:bodyPr>
          <a:lstStyle>
            <a:defPPr>
              <a:defRPr lang="pt-pt"/>
            </a:defPPr>
            <a:lvl1pPr marL="228600" indent="-228600">
              <a:lnSpc>
                <a:spcPct val="120000"/>
              </a:lnSpc>
              <a:spcBef>
                <a:spcPct val="20000"/>
              </a:spcBef>
              <a:buClr>
                <a:schemeClr val="accent3"/>
              </a:buClr>
              <a:buFont typeface="+mj-lt"/>
              <a:buAutoNum type="arabicPeriod"/>
              <a:defRPr sz="1100"/>
            </a:lvl1pPr>
            <a:lvl2pPr marL="398209" indent="-199105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algn="l" rtl="0">
              <a:lnSpc>
                <a:spcPct val="110000"/>
              </a:lnSpc>
            </a:pPr>
            <a:r>
              <a:rPr lang="pt-pt" b="0" i="0" u="none" baseline="0"/>
              <a:t>Mangueira transparente antiestática </a:t>
            </a:r>
            <a:br>
              <a:rPr lang="pt-pt" b="0" i="0" u="none" baseline="0"/>
            </a:br>
            <a:r>
              <a:rPr lang="pt-pt" b="0" i="0" u="none" baseline="0"/>
              <a:t>FDA 3 m + mangas,</a:t>
            </a:r>
          </a:p>
          <a:p>
            <a:pPr algn="l" rtl="0">
              <a:lnSpc>
                <a:spcPct val="110000"/>
              </a:lnSpc>
            </a:pPr>
            <a:r>
              <a:rPr lang="pt-pt" b="0" i="0" u="none" baseline="0"/>
              <a:t>Ligação curva AISI 304</a:t>
            </a:r>
          </a:p>
          <a:p>
            <a:pPr algn="l" rtl="0">
              <a:lnSpc>
                <a:spcPct val="110000"/>
              </a:lnSpc>
            </a:pPr>
            <a:r>
              <a:rPr lang="pt-pt" b="0" i="0" u="none" baseline="0"/>
              <a:t>Cone de silicone antiestático FDA </a:t>
            </a:r>
          </a:p>
          <a:p>
            <a:pPr algn="l" rtl="0">
              <a:lnSpc>
                <a:spcPct val="110000"/>
              </a:lnSpc>
            </a:pPr>
            <a:r>
              <a:rPr lang="pt-pt" b="0" i="0" u="none" baseline="0"/>
              <a:t>Lança plana AISI 300 mm </a:t>
            </a:r>
            <a:r>
              <a:rPr lang="pt-pt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NOVO</a:t>
            </a:r>
          </a:p>
          <a:p>
            <a:pPr algn="l" rtl="0">
              <a:lnSpc>
                <a:spcPct val="110000"/>
              </a:lnSpc>
            </a:pPr>
            <a:r>
              <a:rPr lang="pt-pt" b="0" i="0" u="none" baseline="0"/>
              <a:t>Redutor Ø40/Ø32 SS </a:t>
            </a:r>
          </a:p>
          <a:p>
            <a:pPr algn="l" rtl="0">
              <a:lnSpc>
                <a:spcPct val="110000"/>
              </a:lnSpc>
            </a:pPr>
            <a:r>
              <a:rPr lang="pt-pt" b="0" i="0" u="none" baseline="0"/>
              <a:t>Bocal flexível autoclavável Ø32	 </a:t>
            </a:r>
          </a:p>
          <a:p>
            <a:pPr algn="l" rtl="0">
              <a:lnSpc>
                <a:spcPct val="110000"/>
              </a:lnSpc>
            </a:pPr>
            <a:r>
              <a:rPr lang="pt-pt" b="0" i="0" u="none" baseline="0"/>
              <a:t>Lança plana AISI 304 (300 mm)</a:t>
            </a:r>
          </a:p>
          <a:p>
            <a:pPr algn="l" rtl="0">
              <a:lnSpc>
                <a:spcPct val="110000"/>
              </a:lnSpc>
            </a:pPr>
            <a:endParaRPr lang="pt-pt"/>
          </a:p>
        </p:txBody>
      </p:sp>
      <p:grpSp>
        <p:nvGrpSpPr>
          <p:cNvPr id="68" name="Group 67">
            <a:extLst>
              <a:ext uri="{FF2B5EF4-FFF2-40B4-BE49-F238E27FC236}">
                <a16:creationId xmlns:a16="http://schemas.microsoft.com/office/drawing/2014/main" id="{2C3A7D48-288D-BFAA-5221-A47FA4874D40}"/>
              </a:ext>
            </a:extLst>
          </p:cNvPr>
          <p:cNvGrpSpPr/>
          <p:nvPr/>
        </p:nvGrpSpPr>
        <p:grpSpPr>
          <a:xfrm>
            <a:off x="8659549" y="4473122"/>
            <a:ext cx="2416945" cy="1598951"/>
            <a:chOff x="8659549" y="4132801"/>
            <a:chExt cx="2416945" cy="1598951"/>
          </a:xfrm>
        </p:grpSpPr>
        <p:pic>
          <p:nvPicPr>
            <p:cNvPr id="69" name="Immagine 9">
              <a:extLst>
                <a:ext uri="{FF2B5EF4-FFF2-40B4-BE49-F238E27FC236}">
                  <a16:creationId xmlns:a16="http://schemas.microsoft.com/office/drawing/2014/main" id="{C69D817C-3F8B-2671-9E16-E97EE6AF1B4C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0027499" y="4625180"/>
              <a:ext cx="1048995" cy="1106572"/>
            </a:xfrm>
            <a:prstGeom prst="rect">
              <a:avLst/>
            </a:prstGeom>
          </p:spPr>
        </p:pic>
        <p:pic>
          <p:nvPicPr>
            <p:cNvPr id="70" name="Immagine 15">
              <a:extLst>
                <a:ext uri="{FF2B5EF4-FFF2-40B4-BE49-F238E27FC236}">
                  <a16:creationId xmlns:a16="http://schemas.microsoft.com/office/drawing/2014/main" id="{A88E418A-E0D9-664A-7350-1B2A6C5BAB8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254191" y="5372113"/>
              <a:ext cx="734653" cy="259171"/>
            </a:xfrm>
            <a:prstGeom prst="rect">
              <a:avLst/>
            </a:prstGeom>
          </p:spPr>
        </p:pic>
        <p:grpSp>
          <p:nvGrpSpPr>
            <p:cNvPr id="71" name="Group 70">
              <a:extLst>
                <a:ext uri="{FF2B5EF4-FFF2-40B4-BE49-F238E27FC236}">
                  <a16:creationId xmlns:a16="http://schemas.microsoft.com/office/drawing/2014/main" id="{127D9620-5CAE-1B5D-CFD8-5E5DB0820F23}"/>
                </a:ext>
              </a:extLst>
            </p:cNvPr>
            <p:cNvGrpSpPr/>
            <p:nvPr/>
          </p:nvGrpSpPr>
          <p:grpSpPr>
            <a:xfrm>
              <a:off x="8659549" y="4132801"/>
              <a:ext cx="1389691" cy="1239306"/>
              <a:chOff x="7782578" y="2877162"/>
              <a:chExt cx="1201593" cy="1071562"/>
            </a:xfrm>
          </p:grpSpPr>
          <p:pic>
            <p:nvPicPr>
              <p:cNvPr id="72" name="Immagine 13">
                <a:extLst>
                  <a:ext uri="{FF2B5EF4-FFF2-40B4-BE49-F238E27FC236}">
                    <a16:creationId xmlns:a16="http://schemas.microsoft.com/office/drawing/2014/main" id="{737C484A-0429-405E-A35E-A9495A88FE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/>
              <a:stretch>
                <a:fillRect/>
              </a:stretch>
            </p:blipFill>
            <p:spPr>
              <a:xfrm rot="21116972">
                <a:off x="7839171" y="3663337"/>
                <a:ext cx="387513" cy="285387"/>
              </a:xfrm>
              <a:prstGeom prst="rect">
                <a:avLst/>
              </a:prstGeom>
            </p:spPr>
          </p:pic>
          <p:pic>
            <p:nvPicPr>
              <p:cNvPr id="73" name="Immagine 14">
                <a:extLst>
                  <a:ext uri="{FF2B5EF4-FFF2-40B4-BE49-F238E27FC236}">
                    <a16:creationId xmlns:a16="http://schemas.microsoft.com/office/drawing/2014/main" id="{35845E0C-4DAD-7C9F-1A55-C5FD2472376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7046960" flipH="1" flipV="1">
                <a:off x="8332899" y="3046785"/>
                <a:ext cx="607977" cy="694567"/>
              </a:xfrm>
              <a:prstGeom prst="rect">
                <a:avLst/>
              </a:prstGeom>
            </p:spPr>
          </p:pic>
          <p:pic>
            <p:nvPicPr>
              <p:cNvPr id="74" name="Immagine 2">
                <a:extLst>
                  <a:ext uri="{FF2B5EF4-FFF2-40B4-BE49-F238E27FC236}">
                    <a16:creationId xmlns:a16="http://schemas.microsoft.com/office/drawing/2014/main" id="{ED5D1477-07D8-41BD-606A-AE50BE43EC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20749839" flipH="1">
                <a:off x="7782578" y="3107388"/>
                <a:ext cx="387668" cy="300833"/>
              </a:xfrm>
              <a:prstGeom prst="rect">
                <a:avLst/>
              </a:prstGeom>
            </p:spPr>
          </p:pic>
          <p:pic>
            <p:nvPicPr>
              <p:cNvPr id="75" name="Immagine 22">
                <a:extLst>
                  <a:ext uri="{FF2B5EF4-FFF2-40B4-BE49-F238E27FC236}">
                    <a16:creationId xmlns:a16="http://schemas.microsoft.com/office/drawing/2014/main" id="{B26DC10B-9EC3-582A-8E3F-A6E63B6A71EC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6637136">
                <a:off x="8160728" y="2900669"/>
                <a:ext cx="205688" cy="158674"/>
              </a:xfrm>
              <a:prstGeom prst="rect">
                <a:avLst/>
              </a:prstGeom>
            </p:spPr>
          </p:pic>
        </p:grpSp>
      </p:grpSp>
      <p:sp>
        <p:nvSpPr>
          <p:cNvPr id="76" name="Content Placeholder 2">
            <a:extLst>
              <a:ext uri="{FF2B5EF4-FFF2-40B4-BE49-F238E27FC236}">
                <a16:creationId xmlns:a16="http://schemas.microsoft.com/office/drawing/2014/main" id="{C70FCFC3-3AD9-A8E2-8EF8-E0C09103B039}"/>
              </a:ext>
            </a:extLst>
          </p:cNvPr>
          <p:cNvSpPr txBox="1">
            <a:spLocks/>
          </p:cNvSpPr>
          <p:nvPr/>
        </p:nvSpPr>
        <p:spPr>
          <a:xfrm>
            <a:off x="4316412" y="1419099"/>
            <a:ext cx="3559175" cy="485238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684000" rIns="180000" bIns="216000" rtlCol="0">
            <a:noAutofit/>
          </a:bodyPr>
          <a:lstStyle>
            <a:defPPr>
              <a:defRPr lang="pt-pt"/>
            </a:defPPr>
            <a:lvl1pPr marL="228600" indent="-228600">
              <a:lnSpc>
                <a:spcPct val="120000"/>
              </a:lnSpc>
              <a:spcBef>
                <a:spcPct val="20000"/>
              </a:spcBef>
              <a:buClr>
                <a:schemeClr val="accent3"/>
              </a:buClr>
              <a:buFont typeface="+mj-lt"/>
              <a:buAutoNum type="arabicPeriod"/>
              <a:defRPr sz="1100"/>
            </a:lvl1pPr>
            <a:lvl2pPr marL="398209" indent="-199105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/>
            </a:lvl2pPr>
            <a:lvl3pPr marL="597314" indent="-199105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/>
            </a:lvl3pPr>
            <a:lvl4pPr marL="810641" indent="-213327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4pPr>
            <a:lvl5pPr marL="1009745" indent="-199105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/>
            </a:lvl5pPr>
            <a:lvl6pPr marL="2815910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6pPr>
            <a:lvl7pPr marL="3327892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7pPr>
            <a:lvl8pPr marL="3839876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8pPr>
            <a:lvl9pPr marL="4351859" indent="-255992">
              <a:spcBef>
                <a:spcPct val="20000"/>
              </a:spcBef>
              <a:buFont typeface="Arial" panose="020B0604020202020204" pitchFamily="34" charset="0"/>
              <a:buChar char="•"/>
              <a:defRPr sz="2300"/>
            </a:lvl9pPr>
          </a:lstStyle>
          <a:p>
            <a:pPr algn="l" rtl="0">
              <a:lnSpc>
                <a:spcPct val="110000"/>
              </a:lnSpc>
            </a:pPr>
            <a:r>
              <a:rPr lang="pt-pt" b="0" i="0" u="none" baseline="0"/>
              <a:t>Mangueira condutora flexível 3 m + mangas</a:t>
            </a:r>
          </a:p>
          <a:p>
            <a:pPr algn="l" rtl="0">
              <a:lnSpc>
                <a:spcPct val="110000"/>
              </a:lnSpc>
            </a:pPr>
            <a:r>
              <a:rPr lang="pt-pt" b="0" i="0" u="none" baseline="0"/>
              <a:t>Ligação curva AISI304</a:t>
            </a:r>
          </a:p>
          <a:p>
            <a:pPr algn="l" rtl="0">
              <a:lnSpc>
                <a:spcPct val="110000"/>
              </a:lnSpc>
            </a:pPr>
            <a:r>
              <a:rPr lang="pt-pt" b="0" i="0" u="none" baseline="0"/>
              <a:t>Cone condutor</a:t>
            </a:r>
          </a:p>
          <a:p>
            <a:pPr algn="l" rtl="0">
              <a:lnSpc>
                <a:spcPct val="110000"/>
              </a:lnSpc>
            </a:pPr>
            <a:r>
              <a:rPr lang="pt-pt" b="0" i="0" u="none" baseline="0"/>
              <a:t>AISI 304 lança plana 300 mm </a:t>
            </a:r>
            <a:r>
              <a:rPr lang="pt-pt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NOVO</a:t>
            </a:r>
          </a:p>
          <a:p>
            <a:pPr algn="l" rtl="0">
              <a:lnSpc>
                <a:spcPct val="110000"/>
              </a:lnSpc>
            </a:pPr>
            <a:r>
              <a:rPr lang="pt-pt" b="0" i="0" u="none" baseline="0"/>
              <a:t>Bocal de chão antiestático 300 mm </a:t>
            </a:r>
            <a:r>
              <a:rPr lang="pt-pt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NOVO</a:t>
            </a:r>
          </a:p>
          <a:p>
            <a:pPr algn="l" rtl="0">
              <a:lnSpc>
                <a:spcPct val="110000"/>
              </a:lnSpc>
            </a:pPr>
            <a:r>
              <a:rPr lang="pt-pt" b="0" i="0" u="none" baseline="0"/>
              <a:t>Pega pequena AISI 304 2 peças </a:t>
            </a:r>
            <a:r>
              <a:rPr lang="pt-pt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NOVO</a:t>
            </a:r>
          </a:p>
          <a:p>
            <a:pPr algn="l" rtl="0">
              <a:lnSpc>
                <a:spcPct val="110000"/>
              </a:lnSpc>
            </a:pPr>
            <a:r>
              <a:rPr lang="pt-pt" b="0" i="0" u="none" baseline="0"/>
              <a:t>Escova redonda antiestática</a:t>
            </a:r>
          </a:p>
          <a:p>
            <a:pPr algn="l" rtl="0">
              <a:lnSpc>
                <a:spcPct val="110000"/>
              </a:lnSpc>
            </a:pPr>
            <a:endParaRPr lang="pt-pt"/>
          </a:p>
        </p:txBody>
      </p:sp>
      <p:grpSp>
        <p:nvGrpSpPr>
          <p:cNvPr id="77" name="Group 76">
            <a:extLst>
              <a:ext uri="{FF2B5EF4-FFF2-40B4-BE49-F238E27FC236}">
                <a16:creationId xmlns:a16="http://schemas.microsoft.com/office/drawing/2014/main" id="{2F222100-B704-5319-DC35-B7E3BD9B5822}"/>
              </a:ext>
            </a:extLst>
          </p:cNvPr>
          <p:cNvGrpSpPr/>
          <p:nvPr/>
        </p:nvGrpSpPr>
        <p:grpSpPr>
          <a:xfrm>
            <a:off x="4570213" y="4317128"/>
            <a:ext cx="2934857" cy="1796246"/>
            <a:chOff x="4570213" y="3976807"/>
            <a:chExt cx="2934857" cy="1796246"/>
          </a:xfrm>
        </p:grpSpPr>
        <p:grpSp>
          <p:nvGrpSpPr>
            <p:cNvPr id="78" name="Group 77">
              <a:extLst>
                <a:ext uri="{FF2B5EF4-FFF2-40B4-BE49-F238E27FC236}">
                  <a16:creationId xmlns:a16="http://schemas.microsoft.com/office/drawing/2014/main" id="{CC8EC018-AA07-8D3D-1735-D8FD760A568A}"/>
                </a:ext>
              </a:extLst>
            </p:cNvPr>
            <p:cNvGrpSpPr/>
            <p:nvPr/>
          </p:nvGrpSpPr>
          <p:grpSpPr>
            <a:xfrm>
              <a:off x="5895992" y="3976807"/>
              <a:ext cx="1602523" cy="1667333"/>
              <a:chOff x="5895992" y="3976807"/>
              <a:chExt cx="1602523" cy="1667333"/>
            </a:xfrm>
          </p:grpSpPr>
          <p:pic>
            <p:nvPicPr>
              <p:cNvPr id="138" name="Immagine 52">
                <a:extLst>
                  <a:ext uri="{FF2B5EF4-FFF2-40B4-BE49-F238E27FC236}">
                    <a16:creationId xmlns:a16="http://schemas.microsoft.com/office/drawing/2014/main" id="{D2410941-EB64-78FC-E9C0-7C3D76487404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5895992" y="3976807"/>
                <a:ext cx="1602523" cy="1185510"/>
              </a:xfrm>
              <a:prstGeom prst="rect">
                <a:avLst/>
              </a:prstGeom>
            </p:spPr>
          </p:pic>
          <p:pic>
            <p:nvPicPr>
              <p:cNvPr id="139" name="Immagine 4">
                <a:extLst>
                  <a:ext uri="{FF2B5EF4-FFF2-40B4-BE49-F238E27FC236}">
                    <a16:creationId xmlns:a16="http://schemas.microsoft.com/office/drawing/2014/main" id="{5A652FEA-AD5B-BDAC-F255-37E72CE45BB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0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791352" y="5331699"/>
                <a:ext cx="364141" cy="312441"/>
              </a:xfrm>
              <a:prstGeom prst="rect">
                <a:avLst/>
              </a:prstGeom>
            </p:spPr>
          </p:pic>
          <p:pic>
            <p:nvPicPr>
              <p:cNvPr id="140" name="Immagine 47">
                <a:extLst>
                  <a:ext uri="{FF2B5EF4-FFF2-40B4-BE49-F238E27FC236}">
                    <a16:creationId xmlns:a16="http://schemas.microsoft.com/office/drawing/2014/main" id="{9694083B-EAAE-3CC7-D4FF-679C86C4E55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>
                <a:off x="6954400" y="4518606"/>
                <a:ext cx="538353" cy="370842"/>
              </a:xfrm>
              <a:prstGeom prst="rect">
                <a:avLst/>
              </a:prstGeom>
            </p:spPr>
          </p:pic>
        </p:grpSp>
        <p:grpSp>
          <p:nvGrpSpPr>
            <p:cNvPr id="79" name="Gruppo 77">
              <a:extLst>
                <a:ext uri="{FF2B5EF4-FFF2-40B4-BE49-F238E27FC236}">
                  <a16:creationId xmlns:a16="http://schemas.microsoft.com/office/drawing/2014/main" id="{77302107-2DA8-8B4F-6E89-681C72758BC9}"/>
                </a:ext>
              </a:extLst>
            </p:cNvPr>
            <p:cNvGrpSpPr/>
            <p:nvPr/>
          </p:nvGrpSpPr>
          <p:grpSpPr>
            <a:xfrm>
              <a:off x="4570213" y="4096686"/>
              <a:ext cx="2102449" cy="1676367"/>
              <a:chOff x="4548304" y="3177721"/>
              <a:chExt cx="795715" cy="634456"/>
            </a:xfrm>
          </p:grpSpPr>
          <p:pic>
            <p:nvPicPr>
              <p:cNvPr id="82" name="Immagine 44">
                <a:extLst>
                  <a:ext uri="{FF2B5EF4-FFF2-40B4-BE49-F238E27FC236}">
                    <a16:creationId xmlns:a16="http://schemas.microsoft.com/office/drawing/2014/main" id="{566B8387-7D4E-B1E6-5A80-436D0A5EB9E0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2" cstate="print">
                <a:extLst>
                  <a:ext uri="{28A0092B-C50C-407E-A947-70E740481C1C}">
                    <a14:useLocalDpi xmlns:a14="http://schemas.microsoft.com/office/drawing/2010/main"/>
                  </a:ext>
                </a:extLst>
              </a:blip>
              <a:stretch>
                <a:fillRect/>
              </a:stretch>
            </p:blipFill>
            <p:spPr>
              <a:xfrm rot="17046960" flipH="1" flipV="1">
                <a:off x="4782016" y="3158489"/>
                <a:ext cx="250021" cy="288486"/>
              </a:xfrm>
              <a:prstGeom prst="rect">
                <a:avLst/>
              </a:prstGeom>
            </p:spPr>
          </p:pic>
          <p:pic>
            <p:nvPicPr>
              <p:cNvPr id="136" name="Immagine 50">
                <a:extLst>
                  <a:ext uri="{FF2B5EF4-FFF2-40B4-BE49-F238E27FC236}">
                    <a16:creationId xmlns:a16="http://schemas.microsoft.com/office/drawing/2014/main" id="{48A24F1D-5AA4-F12D-02FC-40A1B546C4FB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3"/>
              <a:stretch>
                <a:fillRect/>
              </a:stretch>
            </p:blipFill>
            <p:spPr>
              <a:xfrm rot="2700000">
                <a:off x="4612223" y="3384894"/>
                <a:ext cx="77236" cy="205074"/>
              </a:xfrm>
              <a:prstGeom prst="rect">
                <a:avLst/>
              </a:prstGeom>
            </p:spPr>
          </p:pic>
          <p:pic>
            <p:nvPicPr>
              <p:cNvPr id="137" name="Immagine 48">
                <a:extLst>
                  <a:ext uri="{FF2B5EF4-FFF2-40B4-BE49-F238E27FC236}">
                    <a16:creationId xmlns:a16="http://schemas.microsoft.com/office/drawing/2014/main" id="{6A95A9AD-D72F-C3D1-A7DB-786653C301CA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4"/>
              <a:stretch>
                <a:fillRect/>
              </a:stretch>
            </p:blipFill>
            <p:spPr>
              <a:xfrm>
                <a:off x="4908942" y="3423954"/>
                <a:ext cx="435077" cy="388223"/>
              </a:xfrm>
              <a:prstGeom prst="rect">
                <a:avLst/>
              </a:prstGeom>
            </p:spPr>
          </p:pic>
        </p:grpSp>
        <p:pic>
          <p:nvPicPr>
            <p:cNvPr id="80" name="Immagine 81">
              <a:extLst>
                <a:ext uri="{FF2B5EF4-FFF2-40B4-BE49-F238E27FC236}">
                  <a16:creationId xmlns:a16="http://schemas.microsoft.com/office/drawing/2014/main" id="{96D21FEE-141B-3CBC-45D9-494F8981BC00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4847771" y="5494390"/>
              <a:ext cx="668781" cy="233597"/>
            </a:xfrm>
            <a:prstGeom prst="rect">
              <a:avLst/>
            </a:prstGeom>
          </p:spPr>
        </p:pic>
        <p:pic>
          <p:nvPicPr>
            <p:cNvPr id="81" name="Immagine 47">
              <a:extLst>
                <a:ext uri="{FF2B5EF4-FFF2-40B4-BE49-F238E27FC236}">
                  <a16:creationId xmlns:a16="http://schemas.microsoft.com/office/drawing/2014/main" id="{34B6A279-302D-5043-5657-681B42DBF12F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973855" y="4541263"/>
              <a:ext cx="531215" cy="365925"/>
            </a:xfrm>
            <a:prstGeom prst="rect">
              <a:avLst/>
            </a:prstGeom>
          </p:spPr>
        </p:pic>
      </p:grpSp>
      <p:sp>
        <p:nvSpPr>
          <p:cNvPr id="141" name="Content Placeholder 1">
            <a:extLst>
              <a:ext uri="{FF2B5EF4-FFF2-40B4-BE49-F238E27FC236}">
                <a16:creationId xmlns:a16="http://schemas.microsoft.com/office/drawing/2014/main" id="{A5AF2971-F192-6CEC-08B0-F27D3D660084}"/>
              </a:ext>
            </a:extLst>
          </p:cNvPr>
          <p:cNvSpPr txBox="1">
            <a:spLocks/>
          </p:cNvSpPr>
          <p:nvPr/>
        </p:nvSpPr>
        <p:spPr>
          <a:xfrm>
            <a:off x="479425" y="1419099"/>
            <a:ext cx="3559175" cy="485238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684000" rIns="180000" bIns="216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pt-pt" sz="1100" b="0" i="0" u="none" baseline="0"/>
              <a:t>Mangueira condutora flexível 3 m + mangas</a:t>
            </a:r>
          </a:p>
          <a:p>
            <a:pPr marL="228600" indent="-228600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pt-pt" sz="1100" b="0" i="0" u="none" baseline="0"/>
              <a:t>Ligação curva AISI304</a:t>
            </a:r>
          </a:p>
          <a:p>
            <a:pPr marL="228600" indent="-228600" algn="l" rtl="0">
              <a:lnSpc>
                <a:spcPct val="110000"/>
              </a:lnSpc>
              <a:buClr>
                <a:schemeClr val="accent3"/>
              </a:buClr>
              <a:buFont typeface="+mj-lt"/>
              <a:buAutoNum type="arabicPeriod"/>
            </a:pPr>
            <a:r>
              <a:rPr lang="pt-pt" sz="1100" b="0" i="0" u="none" baseline="0"/>
              <a:t>Cone condutor</a:t>
            </a:r>
          </a:p>
          <a:p>
            <a:pPr algn="l" rtl="0">
              <a:lnSpc>
                <a:spcPct val="110000"/>
              </a:lnSpc>
            </a:pPr>
            <a:endParaRPr lang="pt-pt" sz="1100"/>
          </a:p>
        </p:txBody>
      </p:sp>
      <p:grpSp>
        <p:nvGrpSpPr>
          <p:cNvPr id="142" name="Gruppo 86">
            <a:extLst>
              <a:ext uri="{FF2B5EF4-FFF2-40B4-BE49-F238E27FC236}">
                <a16:creationId xmlns:a16="http://schemas.microsoft.com/office/drawing/2014/main" id="{EFBA3B36-4F54-405C-979B-8C8AC1D48438}"/>
              </a:ext>
            </a:extLst>
          </p:cNvPr>
          <p:cNvGrpSpPr/>
          <p:nvPr/>
        </p:nvGrpSpPr>
        <p:grpSpPr>
          <a:xfrm>
            <a:off x="983428" y="4352133"/>
            <a:ext cx="2245249" cy="1716175"/>
            <a:chOff x="4515126" y="4549966"/>
            <a:chExt cx="799196" cy="610872"/>
          </a:xfrm>
        </p:grpSpPr>
        <p:pic>
          <p:nvPicPr>
            <p:cNvPr id="143" name="Immagine 83">
              <a:extLst>
                <a:ext uri="{FF2B5EF4-FFF2-40B4-BE49-F238E27FC236}">
                  <a16:creationId xmlns:a16="http://schemas.microsoft.com/office/drawing/2014/main" id="{9F582775-6167-AFC6-2749-8ED27F8563F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 rot="17046960" flipH="1" flipV="1">
              <a:off x="4748838" y="4530734"/>
              <a:ext cx="250021" cy="288486"/>
            </a:xfrm>
            <a:prstGeom prst="rect">
              <a:avLst/>
            </a:prstGeom>
          </p:spPr>
        </p:pic>
        <p:pic>
          <p:nvPicPr>
            <p:cNvPr id="144" name="Immagine 84">
              <a:extLst>
                <a:ext uri="{FF2B5EF4-FFF2-40B4-BE49-F238E27FC236}">
                  <a16:creationId xmlns:a16="http://schemas.microsoft.com/office/drawing/2014/main" id="{19B7DA4E-22F4-F3AD-5826-F4CA39DCC53A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/>
            <a:stretch>
              <a:fillRect/>
            </a:stretch>
          </p:blipFill>
          <p:spPr>
            <a:xfrm rot="2700000">
              <a:off x="4579045" y="4757139"/>
              <a:ext cx="77236" cy="205074"/>
            </a:xfrm>
            <a:prstGeom prst="rect">
              <a:avLst/>
            </a:prstGeom>
          </p:spPr>
        </p:pic>
        <p:pic>
          <p:nvPicPr>
            <p:cNvPr id="145" name="Immagine 85">
              <a:extLst>
                <a:ext uri="{FF2B5EF4-FFF2-40B4-BE49-F238E27FC236}">
                  <a16:creationId xmlns:a16="http://schemas.microsoft.com/office/drawing/2014/main" id="{E97D6AFD-4AB8-3DBD-FCBD-1EF4BC804D2A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/>
            <a:stretch>
              <a:fillRect/>
            </a:stretch>
          </p:blipFill>
          <p:spPr>
            <a:xfrm>
              <a:off x="4879244" y="4772614"/>
              <a:ext cx="435078" cy="388224"/>
            </a:xfrm>
            <a:prstGeom prst="rect">
              <a:avLst/>
            </a:prstGeom>
          </p:spPr>
        </p:pic>
      </p:grpSp>
      <p:sp>
        <p:nvSpPr>
          <p:cNvPr id="146" name="Text Placeholder 2">
            <a:extLst>
              <a:ext uri="{FF2B5EF4-FFF2-40B4-BE49-F238E27FC236}">
                <a16:creationId xmlns:a16="http://schemas.microsoft.com/office/drawing/2014/main" id="{312ACD19-E237-561B-8369-37EEFAD05DB7}"/>
              </a:ext>
            </a:extLst>
          </p:cNvPr>
          <p:cNvSpPr txBox="1">
            <a:spLocks/>
          </p:cNvSpPr>
          <p:nvPr/>
        </p:nvSpPr>
        <p:spPr>
          <a:xfrm>
            <a:off x="479425" y="1419099"/>
            <a:ext cx="3559174" cy="818896"/>
          </a:xfrm>
          <a:prstGeom prst="rect">
            <a:avLst/>
          </a:prstGeom>
        </p:spPr>
        <p:txBody>
          <a:bodyPr lIns="216000" tIns="182880" rIns="14400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pt-pt" sz="1200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ANTIST básico. Kit ACD Ø40</a:t>
            </a:r>
          </a:p>
          <a:p>
            <a:pPr marL="0" indent="0" algn="l" rtl="0">
              <a:buNone/>
            </a:pPr>
            <a:r>
              <a:rPr lang="pt-pt" sz="1200" b="0" i="0" u="none" baseline="0">
                <a:solidFill>
                  <a:srgbClr val="8997A4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cs typeface="Roboto Light italic" panose="02000000000000000000" pitchFamily="2" charset="0"/>
              </a:rPr>
              <a:t>4072400825</a:t>
            </a:r>
            <a:endParaRPr lang="pt-pt">
              <a:solidFill>
                <a:schemeClr val="accent3"/>
              </a:solidFill>
              <a:latin typeface="Roboto Light italic" panose="02000000000000000000" pitchFamily="2" charset="0"/>
              <a:ea typeface="Roboto Light italic" panose="02000000000000000000" pitchFamily="2" charset="0"/>
            </a:endParaRPr>
          </a:p>
        </p:txBody>
      </p:sp>
      <p:sp>
        <p:nvSpPr>
          <p:cNvPr id="147" name="Text Placeholder 2">
            <a:extLst>
              <a:ext uri="{FF2B5EF4-FFF2-40B4-BE49-F238E27FC236}">
                <a16:creationId xmlns:a16="http://schemas.microsoft.com/office/drawing/2014/main" id="{415F8DD1-7F0C-47BD-99E4-68D4D3A0D6A6}"/>
              </a:ext>
            </a:extLst>
          </p:cNvPr>
          <p:cNvSpPr txBox="1">
            <a:spLocks/>
          </p:cNvSpPr>
          <p:nvPr/>
        </p:nvSpPr>
        <p:spPr>
          <a:xfrm>
            <a:off x="4316412" y="1419099"/>
            <a:ext cx="3559174" cy="818896"/>
          </a:xfrm>
          <a:prstGeom prst="rect">
            <a:avLst/>
          </a:prstGeom>
        </p:spPr>
        <p:txBody>
          <a:bodyPr lIns="216000" tIns="182880" rIns="14400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pt-pt" sz="1200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Kit geral ACD Ø40</a:t>
            </a:r>
          </a:p>
          <a:p>
            <a:pPr marL="0" indent="0" algn="l" rtl="0">
              <a:buNone/>
            </a:pPr>
            <a:r>
              <a:rPr lang="pt-pt" sz="1200" b="0" i="0" u="none" baseline="0">
                <a:solidFill>
                  <a:srgbClr val="8997A4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cs typeface="Roboto Light italic" panose="02000000000000000000" pitchFamily="2" charset="0"/>
              </a:rPr>
              <a:t>4072400774</a:t>
            </a:r>
          </a:p>
        </p:txBody>
      </p:sp>
      <p:sp>
        <p:nvSpPr>
          <p:cNvPr id="148" name="Text Placeholder 2">
            <a:extLst>
              <a:ext uri="{FF2B5EF4-FFF2-40B4-BE49-F238E27FC236}">
                <a16:creationId xmlns:a16="http://schemas.microsoft.com/office/drawing/2014/main" id="{350D5A15-F95F-F238-C47D-FFECD014E4DF}"/>
              </a:ext>
            </a:extLst>
          </p:cNvPr>
          <p:cNvSpPr txBox="1">
            <a:spLocks/>
          </p:cNvSpPr>
          <p:nvPr/>
        </p:nvSpPr>
        <p:spPr>
          <a:xfrm>
            <a:off x="8153400" y="1419099"/>
            <a:ext cx="3559174" cy="818896"/>
          </a:xfrm>
          <a:prstGeom prst="rect">
            <a:avLst/>
          </a:prstGeom>
        </p:spPr>
        <p:txBody>
          <a:bodyPr lIns="216000" tIns="182880" rIns="144000"/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buNone/>
            </a:pPr>
            <a:r>
              <a:rPr lang="pt-pt" sz="1200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Kit ACD de maquinaria FDA Ø40</a:t>
            </a:r>
          </a:p>
          <a:p>
            <a:pPr marL="0" indent="0" algn="l" rtl="0">
              <a:buNone/>
            </a:pPr>
            <a:r>
              <a:rPr lang="pt-pt" sz="1200" b="0" i="0" u="none" baseline="0">
                <a:solidFill>
                  <a:srgbClr val="8997A4"/>
                </a:solidFill>
                <a:latin typeface="Roboto Light italic" panose="02000000000000000000" pitchFamily="2" charset="0"/>
                <a:ea typeface="Roboto Light italic" panose="02000000000000000000" pitchFamily="2" charset="0"/>
                <a:cs typeface="Roboto Light italic" panose="02000000000000000000" pitchFamily="2" charset="0"/>
              </a:rPr>
              <a:t>4072400826</a:t>
            </a:r>
          </a:p>
        </p:txBody>
      </p:sp>
      <p:sp>
        <p:nvSpPr>
          <p:cNvPr id="149" name="Ovale 1">
            <a:extLst>
              <a:ext uri="{FF2B5EF4-FFF2-40B4-BE49-F238E27FC236}">
                <a16:creationId xmlns:a16="http://schemas.microsoft.com/office/drawing/2014/main" id="{2914BE07-7C74-F407-6622-F521021698BD}"/>
              </a:ext>
            </a:extLst>
          </p:cNvPr>
          <p:cNvSpPr/>
          <p:nvPr/>
        </p:nvSpPr>
        <p:spPr>
          <a:xfrm>
            <a:off x="1712587" y="5523321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1</a:t>
            </a:r>
          </a:p>
        </p:txBody>
      </p:sp>
      <p:sp>
        <p:nvSpPr>
          <p:cNvPr id="150" name="Ovale 11">
            <a:extLst>
              <a:ext uri="{FF2B5EF4-FFF2-40B4-BE49-F238E27FC236}">
                <a16:creationId xmlns:a16="http://schemas.microsoft.com/office/drawing/2014/main" id="{6462E7A6-9FF1-941C-198D-67445F5D86E5}"/>
              </a:ext>
            </a:extLst>
          </p:cNvPr>
          <p:cNvSpPr/>
          <p:nvPr/>
        </p:nvSpPr>
        <p:spPr>
          <a:xfrm>
            <a:off x="1532728" y="4458303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2</a:t>
            </a:r>
          </a:p>
        </p:txBody>
      </p:sp>
      <p:sp>
        <p:nvSpPr>
          <p:cNvPr id="151" name="Ovale 17">
            <a:extLst>
              <a:ext uri="{FF2B5EF4-FFF2-40B4-BE49-F238E27FC236}">
                <a16:creationId xmlns:a16="http://schemas.microsoft.com/office/drawing/2014/main" id="{2A3D9F7E-6E6E-7F8A-BDAD-E8A27DD8D7F1}"/>
              </a:ext>
            </a:extLst>
          </p:cNvPr>
          <p:cNvSpPr/>
          <p:nvPr/>
        </p:nvSpPr>
        <p:spPr>
          <a:xfrm>
            <a:off x="1106930" y="4828424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3</a:t>
            </a:r>
          </a:p>
        </p:txBody>
      </p:sp>
      <p:sp>
        <p:nvSpPr>
          <p:cNvPr id="152" name="Ovale 25">
            <a:extLst>
              <a:ext uri="{FF2B5EF4-FFF2-40B4-BE49-F238E27FC236}">
                <a16:creationId xmlns:a16="http://schemas.microsoft.com/office/drawing/2014/main" id="{51EFF463-AE65-EE86-8089-FEC5E8F943E3}"/>
              </a:ext>
            </a:extLst>
          </p:cNvPr>
          <p:cNvSpPr/>
          <p:nvPr/>
        </p:nvSpPr>
        <p:spPr>
          <a:xfrm>
            <a:off x="5492671" y="5055641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1</a:t>
            </a:r>
          </a:p>
        </p:txBody>
      </p:sp>
      <p:sp>
        <p:nvSpPr>
          <p:cNvPr id="153" name="Ovale 26">
            <a:extLst>
              <a:ext uri="{FF2B5EF4-FFF2-40B4-BE49-F238E27FC236}">
                <a16:creationId xmlns:a16="http://schemas.microsoft.com/office/drawing/2014/main" id="{5A677230-5D65-1441-FE51-663112BFC29E}"/>
              </a:ext>
            </a:extLst>
          </p:cNvPr>
          <p:cNvSpPr/>
          <p:nvPr/>
        </p:nvSpPr>
        <p:spPr>
          <a:xfrm>
            <a:off x="5129692" y="4425753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2</a:t>
            </a:r>
          </a:p>
        </p:txBody>
      </p:sp>
      <p:sp>
        <p:nvSpPr>
          <p:cNvPr id="154" name="Ovale 27">
            <a:extLst>
              <a:ext uri="{FF2B5EF4-FFF2-40B4-BE49-F238E27FC236}">
                <a16:creationId xmlns:a16="http://schemas.microsoft.com/office/drawing/2014/main" id="{63C5D0DB-85E7-D439-CF0A-D22DAA2BE8DA}"/>
              </a:ext>
            </a:extLst>
          </p:cNvPr>
          <p:cNvSpPr/>
          <p:nvPr/>
        </p:nvSpPr>
        <p:spPr>
          <a:xfrm>
            <a:off x="4673184" y="4781532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3</a:t>
            </a:r>
          </a:p>
        </p:txBody>
      </p:sp>
      <p:sp>
        <p:nvSpPr>
          <p:cNvPr id="155" name="Ovale 28">
            <a:extLst>
              <a:ext uri="{FF2B5EF4-FFF2-40B4-BE49-F238E27FC236}">
                <a16:creationId xmlns:a16="http://schemas.microsoft.com/office/drawing/2014/main" id="{7E50D287-ED24-98CA-020F-C3C1C6DC05F6}"/>
              </a:ext>
            </a:extLst>
          </p:cNvPr>
          <p:cNvSpPr/>
          <p:nvPr/>
        </p:nvSpPr>
        <p:spPr>
          <a:xfrm>
            <a:off x="5084941" y="5631712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4</a:t>
            </a:r>
          </a:p>
        </p:txBody>
      </p:sp>
      <p:sp>
        <p:nvSpPr>
          <p:cNvPr id="156" name="Ovale 29">
            <a:extLst>
              <a:ext uri="{FF2B5EF4-FFF2-40B4-BE49-F238E27FC236}">
                <a16:creationId xmlns:a16="http://schemas.microsoft.com/office/drawing/2014/main" id="{5181738E-115E-3503-B8BD-D59065E969CD}"/>
              </a:ext>
            </a:extLst>
          </p:cNvPr>
          <p:cNvSpPr/>
          <p:nvPr/>
        </p:nvSpPr>
        <p:spPr>
          <a:xfrm>
            <a:off x="7239462" y="4695047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5</a:t>
            </a:r>
          </a:p>
        </p:txBody>
      </p:sp>
      <p:sp>
        <p:nvSpPr>
          <p:cNvPr id="157" name="Ovale 30">
            <a:extLst>
              <a:ext uri="{FF2B5EF4-FFF2-40B4-BE49-F238E27FC236}">
                <a16:creationId xmlns:a16="http://schemas.microsoft.com/office/drawing/2014/main" id="{465BA1D5-B2A5-5F36-C479-7EB4E4237671}"/>
              </a:ext>
            </a:extLst>
          </p:cNvPr>
          <p:cNvSpPr/>
          <p:nvPr/>
        </p:nvSpPr>
        <p:spPr>
          <a:xfrm>
            <a:off x="6124458" y="4530455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6</a:t>
            </a:r>
          </a:p>
        </p:txBody>
      </p:sp>
      <p:sp>
        <p:nvSpPr>
          <p:cNvPr id="158" name="Ovale 31">
            <a:extLst>
              <a:ext uri="{FF2B5EF4-FFF2-40B4-BE49-F238E27FC236}">
                <a16:creationId xmlns:a16="http://schemas.microsoft.com/office/drawing/2014/main" id="{14539FC4-C9CF-23CA-8214-E2BED9921679}"/>
              </a:ext>
            </a:extLst>
          </p:cNvPr>
          <p:cNvSpPr/>
          <p:nvPr/>
        </p:nvSpPr>
        <p:spPr>
          <a:xfrm>
            <a:off x="7284284" y="5608782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7</a:t>
            </a:r>
          </a:p>
        </p:txBody>
      </p:sp>
      <p:sp>
        <p:nvSpPr>
          <p:cNvPr id="159" name="Ovale 32">
            <a:extLst>
              <a:ext uri="{FF2B5EF4-FFF2-40B4-BE49-F238E27FC236}">
                <a16:creationId xmlns:a16="http://schemas.microsoft.com/office/drawing/2014/main" id="{6FDE0000-BB8A-7694-8867-48A9B14FB70C}"/>
              </a:ext>
            </a:extLst>
          </p:cNvPr>
          <p:cNvSpPr/>
          <p:nvPr/>
        </p:nvSpPr>
        <p:spPr>
          <a:xfrm>
            <a:off x="10848942" y="4765649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1</a:t>
            </a:r>
          </a:p>
        </p:txBody>
      </p:sp>
      <p:sp>
        <p:nvSpPr>
          <p:cNvPr id="160" name="Ovale 33">
            <a:extLst>
              <a:ext uri="{FF2B5EF4-FFF2-40B4-BE49-F238E27FC236}">
                <a16:creationId xmlns:a16="http://schemas.microsoft.com/office/drawing/2014/main" id="{6ECA285D-634D-D72C-AA49-7BECE63BD9F8}"/>
              </a:ext>
            </a:extLst>
          </p:cNvPr>
          <p:cNvSpPr/>
          <p:nvPr/>
        </p:nvSpPr>
        <p:spPr>
          <a:xfrm>
            <a:off x="9258502" y="4847945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2</a:t>
            </a:r>
          </a:p>
        </p:txBody>
      </p:sp>
      <p:sp>
        <p:nvSpPr>
          <p:cNvPr id="161" name="Ovale 34">
            <a:extLst>
              <a:ext uri="{FF2B5EF4-FFF2-40B4-BE49-F238E27FC236}">
                <a16:creationId xmlns:a16="http://schemas.microsoft.com/office/drawing/2014/main" id="{3E2D2017-A35C-D97B-440C-19F2A6F0C1E0}"/>
              </a:ext>
            </a:extLst>
          </p:cNvPr>
          <p:cNvSpPr/>
          <p:nvPr/>
        </p:nvSpPr>
        <p:spPr>
          <a:xfrm>
            <a:off x="8744809" y="5296870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3</a:t>
            </a:r>
          </a:p>
        </p:txBody>
      </p:sp>
      <p:sp>
        <p:nvSpPr>
          <p:cNvPr id="162" name="Ovale 36">
            <a:extLst>
              <a:ext uri="{FF2B5EF4-FFF2-40B4-BE49-F238E27FC236}">
                <a16:creationId xmlns:a16="http://schemas.microsoft.com/office/drawing/2014/main" id="{F6CED104-3785-C045-BF0A-31935BB1E55D}"/>
              </a:ext>
            </a:extLst>
          </p:cNvPr>
          <p:cNvSpPr/>
          <p:nvPr/>
        </p:nvSpPr>
        <p:spPr>
          <a:xfrm>
            <a:off x="8716110" y="4613789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6</a:t>
            </a:r>
          </a:p>
        </p:txBody>
      </p:sp>
      <p:sp>
        <p:nvSpPr>
          <p:cNvPr id="163" name="Ovale 37">
            <a:extLst>
              <a:ext uri="{FF2B5EF4-FFF2-40B4-BE49-F238E27FC236}">
                <a16:creationId xmlns:a16="http://schemas.microsoft.com/office/drawing/2014/main" id="{9A479190-B2C9-C2CD-4D8E-FD03AF1C82D7}"/>
              </a:ext>
            </a:extLst>
          </p:cNvPr>
          <p:cNvSpPr/>
          <p:nvPr/>
        </p:nvSpPr>
        <p:spPr>
          <a:xfrm>
            <a:off x="9046207" y="4310946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5</a:t>
            </a:r>
          </a:p>
        </p:txBody>
      </p:sp>
      <p:sp>
        <p:nvSpPr>
          <p:cNvPr id="164" name="Ovale 38">
            <a:extLst>
              <a:ext uri="{FF2B5EF4-FFF2-40B4-BE49-F238E27FC236}">
                <a16:creationId xmlns:a16="http://schemas.microsoft.com/office/drawing/2014/main" id="{1678BC8A-1A10-DB89-8EDE-632FE00E8C40}"/>
              </a:ext>
            </a:extLst>
          </p:cNvPr>
          <p:cNvSpPr/>
          <p:nvPr/>
        </p:nvSpPr>
        <p:spPr>
          <a:xfrm>
            <a:off x="9483903" y="5535348"/>
            <a:ext cx="164592" cy="164592"/>
          </a:xfrm>
          <a:prstGeom prst="ellipse">
            <a:avLst/>
          </a:prstGeom>
          <a:solidFill>
            <a:schemeClr val="accent3"/>
          </a:solidFill>
          <a:ln w="12700">
            <a:solidFill>
              <a:schemeClr val="accent3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950" b="0" i="0" u="none" baseline="0">
                <a:solidFill>
                  <a:schemeClr val="bg1"/>
                </a:solidFill>
                <a:latin typeface="+mj-lt"/>
                <a:ea typeface="+mj-lt"/>
                <a:cs typeface="+mj-lt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41340268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5DD8EF45-81AF-08C3-3A74-FE2269BD9459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246688" cy="4870450"/>
          </a:xfrm>
        </p:spPr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Descrição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Quatro grampos práticos e robustos, dois de cada lado, </a:t>
            </a:r>
            <a:b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úteis para transportar facilmente até 4 ferramentas finais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Como funciona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Quando o IVAC está estacionado, o suporte de acessórios pode </a:t>
            </a:r>
            <a:b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guardar facilmente a nova pega pequena e o bocal de chão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Desligue a mangueira da entrada do IVAC e da pega para um posicionamento mais fácil 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Desligue os acessórios volumosos, como a pega e o bocal de chão, </a:t>
            </a:r>
            <a:b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antes de mover as máquinas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Valor e benefícios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Acessórios sempre por perto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Estacionamento com ocupação mínima de espaço</a:t>
            </a:r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D3898238-15DC-6D83-F6F2-74DAB8E9F68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65ED04B4-DF9B-A93A-E44C-88AFE1A837A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19</a:t>
            </a:fld>
            <a:endParaRPr lang="pt-pt"/>
          </a:p>
        </p:txBody>
      </p:sp>
      <p:sp>
        <p:nvSpPr>
          <p:cNvPr id="14" name="Title 13">
            <a:extLst>
              <a:ext uri="{FF2B5EF4-FFF2-40B4-BE49-F238E27FC236}">
                <a16:creationId xmlns:a16="http://schemas.microsoft.com/office/drawing/2014/main" id="{7322C570-144B-0062-D342-C555EA6D22A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Suporte</a:t>
            </a:r>
            <a:r>
              <a:rPr lang="pt-pt" b="0" i="0" u="none" baseline="0"/>
              <a:t> </a:t>
            </a:r>
            <a:r>
              <a:rPr lang="pt-pt" b="1" i="0" u="none" baseline="0"/>
              <a:t>de</a:t>
            </a:r>
            <a:r>
              <a:rPr lang="pt-pt" b="0" i="0" u="none" baseline="0"/>
              <a:t> </a:t>
            </a:r>
            <a:r>
              <a:rPr lang="pt-pt" b="1" i="0" u="none" baseline="0"/>
              <a:t>acessório</a:t>
            </a:r>
          </a:p>
        </p:txBody>
      </p:sp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BCF00758-82E4-424D-E7BC-8408D6E4A5A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205538" y="0"/>
            <a:ext cx="5986462" cy="6284913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2000" b="0" i="0" u="none" baseline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9" name="CasellaDiTesto 1">
            <a:extLst>
              <a:ext uri="{FF2B5EF4-FFF2-40B4-BE49-F238E27FC236}">
                <a16:creationId xmlns:a16="http://schemas.microsoft.com/office/drawing/2014/main" id="{AF7CB752-33FC-9650-7C0E-9894CBA1F06A}"/>
              </a:ext>
            </a:extLst>
          </p:cNvPr>
          <p:cNvSpPr txBox="1"/>
          <p:nvPr/>
        </p:nvSpPr>
        <p:spPr>
          <a:xfrm>
            <a:off x="6205538" y="5991193"/>
            <a:ext cx="5507037" cy="293721"/>
          </a:xfrm>
          <a:prstGeom prst="rect">
            <a:avLst/>
          </a:prstGeom>
          <a:noFill/>
        </p:spPr>
        <p:txBody>
          <a:bodyPr wrap="square" lIns="144000" tIns="0" rIns="0" bIns="108000" rtlCol="0" anchor="b" anchorCtr="0">
            <a:spAutoFit/>
          </a:bodyPr>
          <a:lstStyle/>
          <a:p>
            <a:pPr algn="l" rtl="0"/>
            <a:r>
              <a:rPr lang="pt-pt" sz="1200" b="0" i="0" u="none" baseline="0"/>
              <a:t>Versão elétrica representada</a:t>
            </a:r>
          </a:p>
        </p:txBody>
      </p:sp>
      <p:sp>
        <p:nvSpPr>
          <p:cNvPr id="20" name="Oval 14">
            <a:extLst>
              <a:ext uri="{FF2B5EF4-FFF2-40B4-BE49-F238E27FC236}">
                <a16:creationId xmlns:a16="http://schemas.microsoft.com/office/drawing/2014/main" id="{D79BE321-C430-7F62-4220-37CC8F8C68E7}"/>
              </a:ext>
            </a:extLst>
          </p:cNvPr>
          <p:cNvSpPr/>
          <p:nvPr/>
        </p:nvSpPr>
        <p:spPr>
          <a:xfrm>
            <a:off x="10244522" y="494490"/>
            <a:ext cx="1468053" cy="1468053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r>
              <a:rPr lang="pt-pt" sz="1500" b="0" i="0" u="none" baseline="0">
                <a:solidFill>
                  <a:schemeClr val="bg1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Posição de estaciona-mento</a:t>
            </a:r>
          </a:p>
        </p:txBody>
      </p:sp>
      <p:pic>
        <p:nvPicPr>
          <p:cNvPr id="22" name="Picture 21" descr="A close-up of a vacuum cleaner&#10;&#10;AI-generated content may be incorrect.">
            <a:extLst>
              <a:ext uri="{FF2B5EF4-FFF2-40B4-BE49-F238E27FC236}">
                <a16:creationId xmlns:a16="http://schemas.microsoft.com/office/drawing/2014/main" id="{BBEB74D0-AC5C-0BF8-64A6-ECBED49BDDFF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617970" y="-1032063"/>
            <a:ext cx="4879379" cy="73153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190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799BFEB-62F2-425A-A7A9-8411C59729A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BF91D67-9E9A-47C3-A2DD-B2B75FB0456B}"/>
              </a:ext>
            </a:extLst>
          </p:cNvPr>
          <p:cNvSpPr>
            <a:spLocks noGrp="1"/>
          </p:cNvSpPr>
          <p:nvPr>
            <p:ph type="body" sz="quarter" idx="37"/>
          </p:nvPr>
        </p:nvSpPr>
        <p:spPr>
          <a:xfrm>
            <a:off x="1329992" y="1609725"/>
            <a:ext cx="2368883" cy="698238"/>
          </a:xfrm>
        </p:spPr>
        <p:txBody>
          <a:bodyPr/>
          <a:lstStyle/>
          <a:p>
            <a:pPr algn="l" rtl="0"/>
            <a:r>
              <a:rPr lang="pt-pt" b="0" i="0" u="none" baseline="0"/>
              <a:t>Gama e layouts </a:t>
            </a:r>
            <a:br>
              <a:rPr lang="pt-pt" b="0" i="0" u="none" baseline="0"/>
            </a:br>
            <a:r>
              <a:rPr lang="pt-pt" b="0" i="0" u="none" baseline="0"/>
              <a:t>do Mini IVS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7B9F07C7-0ECF-4BF5-A045-4D8036A58FB3}"/>
              </a:ext>
            </a:extLst>
          </p:cNvPr>
          <p:cNvSpPr>
            <a:spLocks noGrp="1"/>
          </p:cNvSpPr>
          <p:nvPr>
            <p:ph type="body" sz="quarter" idx="38"/>
          </p:nvPr>
        </p:nvSpPr>
        <p:spPr>
          <a:xfrm>
            <a:off x="1329992" y="2451444"/>
            <a:ext cx="2368883" cy="698238"/>
          </a:xfrm>
        </p:spPr>
        <p:txBody>
          <a:bodyPr/>
          <a:lstStyle/>
          <a:p>
            <a:pPr algn="l" rtl="0"/>
            <a:r>
              <a:rPr lang="pt-pt" b="0" i="0" u="none" baseline="0"/>
              <a:t>Trabalhos a realizar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EB004906-0AAE-4CB6-B00B-400B891D77F6}"/>
              </a:ext>
            </a:extLst>
          </p:cNvPr>
          <p:cNvSpPr>
            <a:spLocks noGrp="1"/>
          </p:cNvSpPr>
          <p:nvPr>
            <p:ph type="body" sz="quarter" idx="39"/>
          </p:nvPr>
        </p:nvSpPr>
        <p:spPr>
          <a:xfrm>
            <a:off x="1329992" y="3293163"/>
            <a:ext cx="2368883" cy="698238"/>
          </a:xfrm>
        </p:spPr>
        <p:txBody>
          <a:bodyPr/>
          <a:lstStyle/>
          <a:p>
            <a:pPr algn="l" rtl="0"/>
            <a:r>
              <a:rPr lang="pt-pt" b="0" i="0" u="none" baseline="0"/>
              <a:t>Principais características </a:t>
            </a:r>
            <a:br>
              <a:rPr lang="pt-pt"/>
            </a:br>
            <a:r>
              <a:rPr lang="pt-pt" b="0" i="0" u="none" baseline="0"/>
              <a:t>e vantagens</a:t>
            </a:r>
            <a:endParaRPr lang="pt-pt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42542A51-367A-4167-9752-5079572B4A15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>
          <a:xfrm>
            <a:off x="1329992" y="4134882"/>
            <a:ext cx="2368883" cy="698238"/>
          </a:xfrm>
        </p:spPr>
        <p:txBody>
          <a:bodyPr/>
          <a:lstStyle/>
          <a:p>
            <a:pPr algn="l" rtl="0"/>
            <a:r>
              <a:rPr lang="pt-pt" b="0" i="0" u="none" baseline="0"/>
              <a:t>Acessórios </a:t>
            </a:r>
            <a:endParaRPr lang="pt-pt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6ADBC23D-47E9-4120-A6D7-24FD29D20769}"/>
              </a:ext>
            </a:extLst>
          </p:cNvPr>
          <p:cNvSpPr>
            <a:spLocks noGrp="1"/>
          </p:cNvSpPr>
          <p:nvPr>
            <p:ph type="body" sz="quarter" idx="43"/>
          </p:nvPr>
        </p:nvSpPr>
        <p:spPr>
          <a:xfrm>
            <a:off x="479425" y="1609725"/>
            <a:ext cx="698400" cy="698238"/>
          </a:xfrm>
        </p:spPr>
        <p:txBody>
          <a:bodyPr/>
          <a:lstStyle/>
          <a:p>
            <a:pPr rtl="0"/>
            <a:r>
              <a:rPr lang="pt-pt" b="1" i="0" u="none" baseline="0"/>
              <a:t>1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2AC5112B-EB2B-4C8F-B168-083A2A11A235}"/>
              </a:ext>
            </a:extLst>
          </p:cNvPr>
          <p:cNvSpPr>
            <a:spLocks noGrp="1"/>
          </p:cNvSpPr>
          <p:nvPr>
            <p:ph type="body" sz="quarter" idx="44"/>
          </p:nvPr>
        </p:nvSpPr>
        <p:spPr>
          <a:xfrm>
            <a:off x="479425" y="2451444"/>
            <a:ext cx="698400" cy="698238"/>
          </a:xfrm>
        </p:spPr>
        <p:txBody>
          <a:bodyPr/>
          <a:lstStyle/>
          <a:p>
            <a:pPr rtl="0"/>
            <a:r>
              <a:rPr lang="pt-pt" b="1" i="0" u="none" baseline="0"/>
              <a:t>2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C4371355-1C45-4851-8D01-7A92B44BE747}"/>
              </a:ext>
            </a:extLst>
          </p:cNvPr>
          <p:cNvSpPr>
            <a:spLocks noGrp="1"/>
          </p:cNvSpPr>
          <p:nvPr>
            <p:ph type="body" sz="quarter" idx="45"/>
          </p:nvPr>
        </p:nvSpPr>
        <p:spPr>
          <a:xfrm>
            <a:off x="479425" y="3293163"/>
            <a:ext cx="698400" cy="698238"/>
          </a:xfrm>
        </p:spPr>
        <p:txBody>
          <a:bodyPr/>
          <a:lstStyle/>
          <a:p>
            <a:pPr rtl="0"/>
            <a:r>
              <a:rPr lang="pt-pt" b="1" i="0" u="none" baseline="0"/>
              <a:t>3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EEBA80C-DEE5-48A1-A470-3A42CC23CC93}"/>
              </a:ext>
            </a:extLst>
          </p:cNvPr>
          <p:cNvSpPr>
            <a:spLocks noGrp="1"/>
          </p:cNvSpPr>
          <p:nvPr>
            <p:ph type="body" sz="quarter" idx="46"/>
          </p:nvPr>
        </p:nvSpPr>
        <p:spPr>
          <a:xfrm>
            <a:off x="479425" y="4134882"/>
            <a:ext cx="698400" cy="698238"/>
          </a:xfrm>
        </p:spPr>
        <p:txBody>
          <a:bodyPr/>
          <a:lstStyle/>
          <a:p>
            <a:pPr rtl="0"/>
            <a:r>
              <a:rPr lang="pt-pt" b="1" i="0" u="none" baseline="0"/>
              <a:t>4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582D0A69-9424-4096-A574-39DAF3E6BD2F}"/>
              </a:ext>
            </a:extLst>
          </p:cNvPr>
          <p:cNvSpPr>
            <a:spLocks noGrp="1"/>
          </p:cNvSpPr>
          <p:nvPr>
            <p:ph type="ftr" sz="quarter" idx="50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71B1E747-E18D-4ED9-8DBE-5AB389BF2EB2}"/>
              </a:ext>
            </a:extLst>
          </p:cNvPr>
          <p:cNvSpPr>
            <a:spLocks noGrp="1"/>
          </p:cNvSpPr>
          <p:nvPr>
            <p:ph type="sldNum" sz="quarter" idx="51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</a:t>
            </a:fld>
            <a:endParaRPr lang="pt-pt"/>
          </a:p>
        </p:txBody>
      </p:sp>
      <p:pic>
        <p:nvPicPr>
          <p:cNvPr id="21" name="Picture Placeholder 18">
            <a:extLst>
              <a:ext uri="{FF2B5EF4-FFF2-40B4-BE49-F238E27FC236}">
                <a16:creationId xmlns:a16="http://schemas.microsoft.com/office/drawing/2014/main" id="{F7AF1D20-0525-81CF-2ECD-4F3F55B3EE6A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 rotWithShape="1"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34326" y="0"/>
            <a:ext cx="4257674" cy="6273800"/>
          </a:xfrm>
        </p:spPr>
      </p:pic>
      <p:sp>
        <p:nvSpPr>
          <p:cNvPr id="28" name="Text Placeholder 4">
            <a:extLst>
              <a:ext uri="{FF2B5EF4-FFF2-40B4-BE49-F238E27FC236}">
                <a16:creationId xmlns:a16="http://schemas.microsoft.com/office/drawing/2014/main" id="{532ACA76-D957-E6D1-9CE0-3673AFF1C875}"/>
              </a:ext>
            </a:extLst>
          </p:cNvPr>
          <p:cNvSpPr txBox="1">
            <a:spLocks/>
          </p:cNvSpPr>
          <p:nvPr/>
        </p:nvSpPr>
        <p:spPr>
          <a:xfrm>
            <a:off x="4882875" y="1609725"/>
            <a:ext cx="2368883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/>
              <a:t>Características técnicas</a:t>
            </a:r>
          </a:p>
        </p:txBody>
      </p:sp>
      <p:sp>
        <p:nvSpPr>
          <p:cNvPr id="29" name="Text Placeholder 5">
            <a:extLst>
              <a:ext uri="{FF2B5EF4-FFF2-40B4-BE49-F238E27FC236}">
                <a16:creationId xmlns:a16="http://schemas.microsoft.com/office/drawing/2014/main" id="{224EB822-25E9-A4F7-6260-4922F5AEA406}"/>
              </a:ext>
            </a:extLst>
          </p:cNvPr>
          <p:cNvSpPr txBox="1">
            <a:spLocks/>
          </p:cNvSpPr>
          <p:nvPr/>
        </p:nvSpPr>
        <p:spPr>
          <a:xfrm>
            <a:off x="4882875" y="2451444"/>
            <a:ext cx="2368883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/>
              <a:t>Designação e hierarquia</a:t>
            </a:r>
          </a:p>
        </p:txBody>
      </p:sp>
      <p:sp>
        <p:nvSpPr>
          <p:cNvPr id="30" name="Text Placeholder 6">
            <a:extLst>
              <a:ext uri="{FF2B5EF4-FFF2-40B4-BE49-F238E27FC236}">
                <a16:creationId xmlns:a16="http://schemas.microsoft.com/office/drawing/2014/main" id="{86E9C1B0-8E0A-9A07-DBA3-3A68B1D4384E}"/>
              </a:ext>
            </a:extLst>
          </p:cNvPr>
          <p:cNvSpPr txBox="1">
            <a:spLocks/>
          </p:cNvSpPr>
          <p:nvPr/>
        </p:nvSpPr>
        <p:spPr>
          <a:xfrm>
            <a:off x="4884398" y="3293163"/>
            <a:ext cx="2368883" cy="698238"/>
          </a:xfrm>
          <a:prstGeom prst="rect">
            <a:avLst/>
          </a:prstGeom>
          <a:ln>
            <a:noFill/>
          </a:ln>
        </p:spPr>
        <p:txBody>
          <a:bodyPr vert="horz" lIns="72000" tIns="72000" rIns="72000" bIns="72000" rtlCol="0" anchor="ctr">
            <a:noAutofit/>
          </a:bodyPr>
          <a:lstStyle>
            <a:lvl1pPr marL="0" indent="0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b="0" i="0" u="none" baseline="0"/>
              <a:t>Responsabilidade </a:t>
            </a:r>
            <a:br>
              <a:rPr lang="pt-pt"/>
            </a:br>
            <a:r>
              <a:rPr lang="pt-pt" b="0" i="0" u="none" baseline="0"/>
              <a:t>corporativa</a:t>
            </a:r>
          </a:p>
        </p:txBody>
      </p: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35AC0A98-BFC3-957F-7BC3-944261B0076A}"/>
              </a:ext>
            </a:extLst>
          </p:cNvPr>
          <p:cNvSpPr txBox="1">
            <a:spLocks/>
          </p:cNvSpPr>
          <p:nvPr/>
        </p:nvSpPr>
        <p:spPr>
          <a:xfrm>
            <a:off x="4032308" y="1609725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b="1" i="0" u="none" baseline="0" dirty="0"/>
              <a:t>5</a:t>
            </a:r>
          </a:p>
        </p:txBody>
      </p:sp>
      <p:sp>
        <p:nvSpPr>
          <p:cNvPr id="34" name="Text Placeholder 11">
            <a:extLst>
              <a:ext uri="{FF2B5EF4-FFF2-40B4-BE49-F238E27FC236}">
                <a16:creationId xmlns:a16="http://schemas.microsoft.com/office/drawing/2014/main" id="{A191AB01-68E5-793E-150E-162E83C7E4F4}"/>
              </a:ext>
            </a:extLst>
          </p:cNvPr>
          <p:cNvSpPr txBox="1">
            <a:spLocks/>
          </p:cNvSpPr>
          <p:nvPr/>
        </p:nvSpPr>
        <p:spPr>
          <a:xfrm>
            <a:off x="4032308" y="2451444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b="1" i="0" u="none" baseline="0" dirty="0"/>
              <a:t>6</a:t>
            </a:r>
          </a:p>
        </p:txBody>
      </p:sp>
      <p:sp>
        <p:nvSpPr>
          <p:cNvPr id="35" name="Text Placeholder 12">
            <a:extLst>
              <a:ext uri="{FF2B5EF4-FFF2-40B4-BE49-F238E27FC236}">
                <a16:creationId xmlns:a16="http://schemas.microsoft.com/office/drawing/2014/main" id="{BB2ECF18-2EB6-E9AC-9BF4-9593DEB21B42}"/>
              </a:ext>
            </a:extLst>
          </p:cNvPr>
          <p:cNvSpPr txBox="1">
            <a:spLocks/>
          </p:cNvSpPr>
          <p:nvPr/>
        </p:nvSpPr>
        <p:spPr>
          <a:xfrm>
            <a:off x="4033831" y="3293163"/>
            <a:ext cx="698400" cy="698238"/>
          </a:xfrm>
          <a:prstGeom prst="ellipse">
            <a:avLst/>
          </a:prstGeom>
          <a:solidFill>
            <a:schemeClr val="accent3"/>
          </a:solidFill>
          <a:ln>
            <a:noFill/>
          </a:ln>
        </p:spPr>
        <p:txBody>
          <a:bodyPr vert="horz" lIns="0" tIns="0" rIns="0" bIns="0" rtlCol="0" anchor="ctr">
            <a:noAutofit/>
          </a:bodyPr>
          <a:lstStyle>
            <a:lvl1pPr marL="0" indent="0" algn="ctr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None/>
              <a:defRPr sz="2800" b="1" kern="1200">
                <a:solidFill>
                  <a:schemeClr val="bg1"/>
                </a:solidFill>
                <a:latin typeface="Roboto Black" panose="02000000000000000000" pitchFamily="2" charset="0"/>
                <a:ea typeface="Roboto Black" panose="02000000000000000000" pitchFamily="2" charset="0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dirty="0"/>
              <a:t>7</a:t>
            </a:r>
            <a:endParaRPr lang="pt-pt" b="1" i="0" u="none" baseline="0" dirty="0"/>
          </a:p>
        </p:txBody>
      </p:sp>
    </p:spTree>
    <p:extLst>
      <p:ext uri="{BB962C8B-B14F-4D97-AF65-F5344CB8AC3E}">
        <p14:creationId xmlns:p14="http://schemas.microsoft.com/office/powerpoint/2010/main" val="1708403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A0D06834-85DE-CD8D-423E-BF7B9133058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201285" cy="4870450"/>
          </a:xfrm>
        </p:spPr>
        <p:txBody>
          <a:bodyPr/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Descrição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O kit de regulador de pressão opcional pode ser facilmente instalado, utilizando os parafusos do suporte de acessórios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Como funciona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Defina a pressão de fornecimento adequada, reduzindo-a para </a:t>
            </a:r>
            <a:b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o valor pretendido (5-6 bar)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Garante sempre o máximo desempenho ao controlar a perda </a:t>
            </a:r>
            <a:b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de pressão da linha de fornecimento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Recomendado quando o IVAC está ligado longe da linha de </a:t>
            </a:r>
            <a:b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</a:b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fornecimento pneumática principal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pt-pt" sz="12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Valor e benefícios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É pequeno, compacto e fácil de instalar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É ergonómico e está bem protegido</a:t>
            </a:r>
          </a:p>
          <a:p>
            <a:pPr marL="199105" marR="0" lvl="0" indent="-199105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38AFD9"/>
              </a:buClr>
              <a:buSzTx/>
              <a:buFont typeface="Wingdings" panose="05000000000000000000" pitchFamily="2" charset="2"/>
              <a:buChar char="ü"/>
              <a:tabLst/>
              <a:defRPr/>
            </a:pPr>
            <a:r>
              <a:rPr kumimoji="0" lang="pt-pt" sz="12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Garante sempre o melhor desempenho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C00959C-3946-3F1C-30DB-7E2A508E3DE7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D1A92DA-D0E7-E406-4F31-67F29F23D7A5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0</a:t>
            </a:fld>
            <a:endParaRPr lang="pt-pt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7B589CC9-AF11-29BA-A57D-1963A0BF0BE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Novo kit de regulador de pressão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177E4B6-F263-B190-DCD9-97A2110EC8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Definição</a:t>
            </a:r>
            <a:r>
              <a:rPr lang="pt-pt" b="0" i="0" u="none" baseline="0"/>
              <a:t> </a:t>
            </a:r>
            <a:r>
              <a:rPr lang="pt-pt" b="1" i="0" u="none" baseline="0"/>
              <a:t>do</a:t>
            </a:r>
            <a:r>
              <a:rPr lang="pt-pt" b="0" i="0" u="none" baseline="0"/>
              <a:t> </a:t>
            </a:r>
            <a:r>
              <a:rPr lang="pt-pt" b="1" i="0" u="none" baseline="0"/>
              <a:t>produto</a:t>
            </a:r>
          </a:p>
        </p:txBody>
      </p:sp>
      <p:pic>
        <p:nvPicPr>
          <p:cNvPr id="9" name="Immagine 5">
            <a:extLst>
              <a:ext uri="{FF2B5EF4-FFF2-40B4-BE49-F238E27FC236}">
                <a16:creationId xmlns:a16="http://schemas.microsoft.com/office/drawing/2014/main" id="{2B68B66C-C487-57E5-CA10-8679D0C0C7FE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05538" y="0"/>
            <a:ext cx="5986462" cy="6284913"/>
          </a:xfrm>
          <a:prstGeom prst="rect">
            <a:avLst/>
          </a:prstGeom>
        </p:spPr>
      </p:pic>
      <p:sp>
        <p:nvSpPr>
          <p:cNvPr id="10" name="Oval 14">
            <a:extLst>
              <a:ext uri="{FF2B5EF4-FFF2-40B4-BE49-F238E27FC236}">
                <a16:creationId xmlns:a16="http://schemas.microsoft.com/office/drawing/2014/main" id="{EAB8B6E8-68E4-EF90-D51B-99D2B9AAF820}"/>
              </a:ext>
            </a:extLst>
          </p:cNvPr>
          <p:cNvSpPr/>
          <p:nvPr/>
        </p:nvSpPr>
        <p:spPr>
          <a:xfrm>
            <a:off x="6756400" y="989790"/>
            <a:ext cx="1468053" cy="1468053"/>
          </a:xfrm>
          <a:prstGeom prst="ellipse">
            <a:avLst/>
          </a:prstGeom>
          <a:solidFill>
            <a:schemeClr val="accent3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ctr"/>
          <a:lstStyle/>
          <a:p>
            <a:pPr algn="ctr" rtl="0"/>
            <a:r>
              <a:rPr lang="pt-pt" sz="1500" b="0" i="0" u="none" baseline="0">
                <a:solidFill>
                  <a:schemeClr val="bg1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Kit de </a:t>
            </a:r>
            <a:br>
              <a:rPr lang="pt-pt" sz="1500" b="0" i="0" u="none" baseline="0">
                <a:solidFill>
                  <a:schemeClr val="bg1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</a:br>
            <a:r>
              <a:rPr lang="pt-pt" sz="1500" b="0" i="0" u="none" baseline="0">
                <a:solidFill>
                  <a:schemeClr val="bg1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regulador de pressão</a:t>
            </a:r>
          </a:p>
        </p:txBody>
      </p:sp>
    </p:spTree>
    <p:extLst>
      <p:ext uri="{BB962C8B-B14F-4D97-AF65-F5344CB8AC3E}">
        <p14:creationId xmlns:p14="http://schemas.microsoft.com/office/powerpoint/2010/main" val="40716903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BD72A5D-ACB6-1D94-5D36-014AC00098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629649" y="0"/>
            <a:ext cx="3562350" cy="6283325"/>
          </a:xfrm>
        </p:spPr>
        <p:txBody>
          <a:bodyPr/>
          <a:lstStyle/>
          <a:p>
            <a:pPr marL="0" indent="0" algn="l" rtl="0">
              <a:buNone/>
            </a:pPr>
            <a:r>
              <a:rPr lang="pt-pt" b="0" i="0" u="none" baseline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7E9332D-AACB-D878-906B-E41FF915026F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69D14AE-BC6C-94E8-04A5-CEC6941D4AB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1</a:t>
            </a:fld>
            <a:endParaRPr lang="pt-pt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D912B4D2-B846-C163-A013-4AB81E592F0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Filtros sobresselentes e filtros de saco para VHC010...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A915E789-6BDF-451E-7F1B-BC00E6BD6C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7862850" cy="388013"/>
          </a:xfrm>
        </p:spPr>
        <p:txBody>
          <a:bodyPr/>
          <a:lstStyle/>
          <a:p>
            <a:pPr algn="l" rtl="0"/>
            <a:r>
              <a:rPr lang="pt-pt" b="1" i="0" u="none" baseline="0"/>
              <a:t>Filtros VHC010 Z1 EXA </a:t>
            </a:r>
          </a:p>
        </p:txBody>
      </p:sp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A7DE2C00-9DC5-4EAC-E1C5-E471947960A3}"/>
              </a:ext>
            </a:extLst>
          </p:cNvPr>
          <p:cNvSpPr txBox="1">
            <a:spLocks/>
          </p:cNvSpPr>
          <p:nvPr/>
        </p:nvSpPr>
        <p:spPr>
          <a:xfrm>
            <a:off x="479425" y="4953842"/>
            <a:ext cx="7674704" cy="1372555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indent="-144000" algn="l" rtl="0"/>
            <a:r>
              <a:rPr lang="pt-pt" sz="1100" b="0" i="0" u="none" baseline="0"/>
              <a:t>Filtro sobresselente HEPA 14: </a:t>
            </a:r>
            <a:r>
              <a:rPr lang="pt-pt" sz="1100" b="0" i="0" u="none" baseline="0">
                <a:latin typeface="+mj-lt"/>
                <a:ea typeface="+mj-lt"/>
                <a:cs typeface="+mj-lt"/>
              </a:rPr>
              <a:t>4081701910 (apenas filtro) </a:t>
            </a:r>
          </a:p>
          <a:p>
            <a:pPr marL="144000" indent="-144000" algn="l" rtl="0"/>
            <a:r>
              <a:rPr lang="pt-pt" sz="1100" b="0" i="0" u="none" baseline="0"/>
              <a:t>5 PC filtro de lã: </a:t>
            </a:r>
            <a:r>
              <a:rPr lang="pt-pt" sz="1100" b="0" i="0" u="none" baseline="0">
                <a:latin typeface="+mj-lt"/>
                <a:ea typeface="+mj-lt"/>
                <a:cs typeface="+mj-lt"/>
              </a:rPr>
              <a:t>107419592 (modelos standard)</a:t>
            </a:r>
          </a:p>
          <a:p>
            <a:pPr marL="144000" indent="-144000" algn="l" rtl="0"/>
            <a:r>
              <a:rPr lang="pt-pt" sz="1100" b="0" i="0" u="none" baseline="0"/>
              <a:t>5 PC filtro de lã + válvula de guilhotina </a:t>
            </a:r>
            <a:r>
              <a:rPr lang="pt-pt" sz="1100" b="0" i="0" u="none" baseline="0">
                <a:latin typeface="+mj-lt"/>
                <a:ea typeface="+mj-lt"/>
                <a:cs typeface="+mj-lt"/>
              </a:rPr>
              <a:t>4089101208 (apenas modelos standard) </a:t>
            </a:r>
          </a:p>
          <a:p>
            <a:pPr marL="144000" indent="-144000" algn="l" rtl="0"/>
            <a:r>
              <a:rPr lang="pt-pt" sz="1100" b="0" i="0" u="none" baseline="0"/>
              <a:t>5 PC sistema de saco de segurança: </a:t>
            </a:r>
            <a:r>
              <a:rPr lang="pt-pt" sz="1100" b="0" i="0" u="none" baseline="0">
                <a:latin typeface="+mj-lt"/>
                <a:ea typeface="+mj-lt"/>
                <a:cs typeface="+mj-lt"/>
              </a:rPr>
              <a:t>4089101209 (apenas modelos SBS)</a:t>
            </a:r>
            <a:endParaRPr lang="pt-pt" sz="1100">
              <a:solidFill>
                <a:srgbClr val="8997A4"/>
              </a:solidFill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pt-pt" sz="1100">
              <a:solidFill>
                <a:srgbClr val="8997A4"/>
              </a:solidFill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pt-pt" sz="1100" b="0" i="0" u="none" baseline="0">
                <a:solidFill>
                  <a:srgbClr val="8997A4"/>
                </a:solidFill>
              </a:rPr>
              <a:t>* Consulte o manual do utilizador e a lista de peças sobresselentes para obter informações </a:t>
            </a:r>
            <a:br>
              <a:rPr lang="pt-pt" sz="1100" b="0" i="0" u="none" baseline="0">
                <a:solidFill>
                  <a:srgbClr val="8997A4"/>
                </a:solidFill>
              </a:rPr>
            </a:br>
            <a:r>
              <a:rPr lang="pt-pt" sz="1100" b="0" i="0" u="none" baseline="0">
                <a:solidFill>
                  <a:srgbClr val="8997A4"/>
                </a:solidFill>
              </a:rPr>
              <a:t>sobre os kits de manutenção e sobresselentes</a:t>
            </a:r>
          </a:p>
        </p:txBody>
      </p:sp>
      <p:sp>
        <p:nvSpPr>
          <p:cNvPr id="35" name="Content Placeholder 13">
            <a:extLst>
              <a:ext uri="{FF2B5EF4-FFF2-40B4-BE49-F238E27FC236}">
                <a16:creationId xmlns:a16="http://schemas.microsoft.com/office/drawing/2014/main" id="{0F5D757F-252C-C3F0-7120-A2D5F74468D3}"/>
              </a:ext>
            </a:extLst>
          </p:cNvPr>
          <p:cNvSpPr txBox="1">
            <a:spLocks/>
          </p:cNvSpPr>
          <p:nvPr/>
        </p:nvSpPr>
        <p:spPr>
          <a:xfrm>
            <a:off x="473568" y="1814439"/>
            <a:ext cx="1703625" cy="2824299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368000" rIns="144000" bIns="180000" rtlCol="0" anchor="t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pt-pt" sz="1500" b="0" i="0" u="none" spc="10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HEPA H14 </a:t>
            </a:r>
          </a:p>
          <a:p>
            <a:pPr marL="0" indent="0" algn="ctr" rtl="0">
              <a:spcBef>
                <a:spcPts val="0"/>
              </a:spcBef>
              <a:buNone/>
            </a:pPr>
            <a:r>
              <a:rPr lang="pt-pt" sz="1000" b="0" i="1" u="none" baseline="0">
                <a:solidFill>
                  <a:schemeClr val="tx2"/>
                </a:solidFill>
                <a:latin typeface="+mn-lt"/>
                <a:ea typeface="+mn-lt"/>
                <a:cs typeface="+mn-lt"/>
              </a:rPr>
              <a:t>4081701910</a:t>
            </a:r>
            <a:endParaRPr lang="pt-pt" sz="1000" b="0" i="1" dirty="0">
              <a:solidFill>
                <a:schemeClr val="tx2"/>
              </a:solidFill>
              <a:latin typeface="+mn-lt"/>
              <a:ea typeface="Roboto Light"/>
              <a:cs typeface="Roboto Light"/>
            </a:endParaRPr>
          </a:p>
          <a:p>
            <a:pPr marL="0" indent="0" algn="ctr" rtl="0">
              <a:spcBef>
                <a:spcPts val="600"/>
              </a:spcBef>
              <a:buNone/>
            </a:pPr>
            <a:r>
              <a:rPr lang="pt-pt" sz="1000" b="0" i="0" u="none" baseline="0">
                <a:latin typeface="Roboto Bold"/>
                <a:ea typeface="Roboto Bold"/>
                <a:cs typeface="Roboto Bold"/>
              </a:rPr>
              <a:t>Todas as versões do </a:t>
            </a:r>
            <a:br>
              <a:rPr lang="pt-pt" sz="1000">
                <a:latin typeface="Roboto Bold" panose="02000000000000000000" pitchFamily="2" charset="0"/>
                <a:ea typeface="Roboto Bold" panose="02000000000000000000" pitchFamily="2" charset="0"/>
              </a:rPr>
            </a:br>
            <a:r>
              <a:rPr lang="pt-pt" sz="1000" b="0" i="0" u="none" baseline="0">
                <a:latin typeface="Roboto Bold"/>
                <a:ea typeface="Roboto Bold"/>
                <a:cs typeface="Roboto Bold"/>
              </a:rPr>
              <a:t>VHS010</a:t>
            </a:r>
          </a:p>
          <a:p>
            <a:pPr marL="0" indent="0" algn="ctr" rtl="0">
              <a:spcBef>
                <a:spcPts val="600"/>
              </a:spcBef>
              <a:buNone/>
            </a:pPr>
            <a:r>
              <a:rPr lang="pt-pt" sz="1000" b="0" i="0" u="none" baseline="0">
                <a:latin typeface="Roboto Bold"/>
                <a:ea typeface="Roboto Bold"/>
                <a:cs typeface="Roboto Bold"/>
              </a:rPr>
              <a:t>(corpo 10)</a:t>
            </a:r>
            <a:endParaRPr lang="pt-pt" sz="1000">
              <a:latin typeface="Roboto Bold" panose="02000000000000000000" pitchFamily="2" charset="0"/>
              <a:ea typeface="Roboto Bold" panose="02000000000000000000" pitchFamily="2" charset="0"/>
              <a:cs typeface="Roboto Bold"/>
            </a:endParaRPr>
          </a:p>
        </p:txBody>
      </p:sp>
      <p:pic>
        <p:nvPicPr>
          <p:cNvPr id="43" name="Immagine 9">
            <a:extLst>
              <a:ext uri="{FF2B5EF4-FFF2-40B4-BE49-F238E27FC236}">
                <a16:creationId xmlns:a16="http://schemas.microsoft.com/office/drawing/2014/main" id="{208DD13F-EC5C-6D2B-0ED6-53518EA00C6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340703" y="1150427"/>
            <a:ext cx="2375776" cy="4591259"/>
          </a:xfrm>
          <a:prstGeom prst="rect">
            <a:avLst/>
          </a:prstGeom>
        </p:spPr>
      </p:pic>
      <p:sp>
        <p:nvSpPr>
          <p:cNvPr id="48" name="Content Placeholder 13">
            <a:extLst>
              <a:ext uri="{FF2B5EF4-FFF2-40B4-BE49-F238E27FC236}">
                <a16:creationId xmlns:a16="http://schemas.microsoft.com/office/drawing/2014/main" id="{A36A3154-72D0-2F29-AE85-0E7A8BDEC3FD}"/>
              </a:ext>
            </a:extLst>
          </p:cNvPr>
          <p:cNvSpPr txBox="1">
            <a:spLocks/>
          </p:cNvSpPr>
          <p:nvPr/>
        </p:nvSpPr>
        <p:spPr>
          <a:xfrm>
            <a:off x="2292131" y="1814439"/>
            <a:ext cx="1703625" cy="2824299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368000" rIns="144000" bIns="180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pt-pt" sz="1500" b="0" i="0" u="none" spc="10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Standard</a:t>
            </a:r>
          </a:p>
          <a:p>
            <a:pPr marL="0" indent="0" algn="ctr" rtl="0">
              <a:spcBef>
                <a:spcPts val="0"/>
              </a:spcBef>
              <a:buNone/>
            </a:pPr>
            <a:r>
              <a:rPr lang="pt-pt" sz="1000" b="0" i="1" u="none" baseline="0">
                <a:solidFill>
                  <a:schemeClr val="tx2"/>
                </a:solidFill>
                <a:latin typeface="+mn-lt"/>
                <a:ea typeface="+mn-lt"/>
                <a:cs typeface="+mn-lt"/>
              </a:rPr>
              <a:t>107419592</a:t>
            </a:r>
            <a:endParaRPr lang="pt-pt" sz="1000">
              <a:latin typeface="Roboto Bold" panose="02000000000000000000" pitchFamily="2" charset="0"/>
              <a:ea typeface="Roboto Bold" panose="02000000000000000000" pitchFamily="2" charset="0"/>
            </a:endParaRPr>
          </a:p>
          <a:p>
            <a:pPr marL="0" indent="0" algn="ctr" rtl="0">
              <a:spcBef>
                <a:spcPts val="600"/>
              </a:spcBef>
              <a:buNone/>
            </a:pPr>
            <a:r>
              <a:rPr lang="pt-pt" sz="10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VHC010 Z1</a:t>
            </a:r>
          </a:p>
          <a:p>
            <a:pPr marL="0" indent="0" algn="ctr" rtl="0">
              <a:spcBef>
                <a:spcPts val="600"/>
              </a:spcBef>
              <a:buNone/>
            </a:pPr>
            <a:r>
              <a:rPr lang="pt-pt" sz="10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5PC</a:t>
            </a:r>
          </a:p>
        </p:txBody>
      </p:sp>
      <p:sp>
        <p:nvSpPr>
          <p:cNvPr id="49" name="Content Placeholder 13">
            <a:extLst>
              <a:ext uri="{FF2B5EF4-FFF2-40B4-BE49-F238E27FC236}">
                <a16:creationId xmlns:a16="http://schemas.microsoft.com/office/drawing/2014/main" id="{36CFB108-53F6-E5EB-66B3-03B2FF8AC753}"/>
              </a:ext>
            </a:extLst>
          </p:cNvPr>
          <p:cNvSpPr txBox="1">
            <a:spLocks/>
          </p:cNvSpPr>
          <p:nvPr/>
        </p:nvSpPr>
        <p:spPr>
          <a:xfrm>
            <a:off x="4110694" y="1814439"/>
            <a:ext cx="1703625" cy="2824299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368000" rIns="144000" bIns="180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pt-pt" sz="1500" b="0" i="0" u="none" spc="10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Sistema de saco de pó</a:t>
            </a:r>
          </a:p>
          <a:p>
            <a:pPr marL="0" indent="0" algn="ctr" rtl="0">
              <a:spcBef>
                <a:spcPts val="0"/>
              </a:spcBef>
              <a:buNone/>
            </a:pPr>
            <a:r>
              <a:rPr lang="pt-pt" sz="1000" b="0" i="1" u="none" baseline="0">
                <a:solidFill>
                  <a:schemeClr val="tx2"/>
                </a:solidFill>
                <a:latin typeface="+mn-lt"/>
                <a:ea typeface="+mn-lt"/>
                <a:cs typeface="+mn-lt"/>
              </a:rPr>
              <a:t>4089101208</a:t>
            </a:r>
          </a:p>
          <a:p>
            <a:pPr marL="0" indent="0" algn="ctr" rtl="0">
              <a:spcBef>
                <a:spcPts val="600"/>
              </a:spcBef>
              <a:buNone/>
            </a:pPr>
            <a:r>
              <a:rPr lang="pt-pt" sz="10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VHC010 Z1 DBS</a:t>
            </a:r>
          </a:p>
          <a:p>
            <a:pPr marL="0" indent="0" algn="ctr" rtl="0">
              <a:spcBef>
                <a:spcPts val="600"/>
              </a:spcBef>
              <a:buNone/>
            </a:pPr>
            <a:r>
              <a:rPr lang="pt-pt" sz="10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5PC</a:t>
            </a:r>
          </a:p>
        </p:txBody>
      </p:sp>
      <p:sp>
        <p:nvSpPr>
          <p:cNvPr id="50" name="Content Placeholder 13">
            <a:extLst>
              <a:ext uri="{FF2B5EF4-FFF2-40B4-BE49-F238E27FC236}">
                <a16:creationId xmlns:a16="http://schemas.microsoft.com/office/drawing/2014/main" id="{C2937E43-453F-0FFE-AF70-0C2F140A5AFD}"/>
              </a:ext>
            </a:extLst>
          </p:cNvPr>
          <p:cNvSpPr txBox="1">
            <a:spLocks/>
          </p:cNvSpPr>
          <p:nvPr/>
        </p:nvSpPr>
        <p:spPr>
          <a:xfrm>
            <a:off x="5929256" y="1814439"/>
            <a:ext cx="1703625" cy="2824299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368000" rIns="144000" bIns="180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pt-pt" sz="1500" b="0" i="0" u="none" spc="-1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Sistema de saco de segurança</a:t>
            </a:r>
          </a:p>
          <a:p>
            <a:pPr marL="0" indent="0" algn="ctr" rtl="0">
              <a:spcBef>
                <a:spcPts val="0"/>
              </a:spcBef>
              <a:buNone/>
            </a:pPr>
            <a:r>
              <a:rPr lang="pt-pt" sz="1000" b="0" i="1" u="none" baseline="0">
                <a:solidFill>
                  <a:schemeClr val="tx2"/>
                </a:solidFill>
                <a:latin typeface="+mn-lt"/>
                <a:ea typeface="+mn-lt"/>
                <a:cs typeface="+mn-lt"/>
              </a:rPr>
              <a:t>4089101209</a:t>
            </a:r>
            <a:endParaRPr lang="pt-pt" sz="1000">
              <a:latin typeface="Roboto Bold" panose="02000000000000000000" pitchFamily="2" charset="0"/>
              <a:ea typeface="Roboto Bold" panose="02000000000000000000" pitchFamily="2" charset="0"/>
            </a:endParaRPr>
          </a:p>
          <a:p>
            <a:pPr marL="0" indent="0" algn="ctr" rtl="0">
              <a:spcBef>
                <a:spcPts val="600"/>
              </a:spcBef>
              <a:buNone/>
            </a:pPr>
            <a:r>
              <a:rPr lang="pt-pt" sz="10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VHC010 Z1 SBS</a:t>
            </a:r>
          </a:p>
          <a:p>
            <a:pPr marL="0" indent="0" algn="ctr" rtl="0">
              <a:spcBef>
                <a:spcPts val="600"/>
              </a:spcBef>
              <a:buNone/>
            </a:pPr>
            <a:r>
              <a:rPr lang="pt-pt" sz="10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5PC</a:t>
            </a:r>
          </a:p>
        </p:txBody>
      </p:sp>
      <p:pic>
        <p:nvPicPr>
          <p:cNvPr id="51" name="Immagine 9">
            <a:extLst>
              <a:ext uri="{FF2B5EF4-FFF2-40B4-BE49-F238E27FC236}">
                <a16:creationId xmlns:a16="http://schemas.microsoft.com/office/drawing/2014/main" id="{6D08F5DC-403C-2AEE-338C-F6D92D36441F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340159" y="2014673"/>
            <a:ext cx="881818" cy="992558"/>
          </a:xfrm>
          <a:prstGeom prst="rect">
            <a:avLst/>
          </a:prstGeom>
        </p:spPr>
      </p:pic>
      <p:pic>
        <p:nvPicPr>
          <p:cNvPr id="52" name="Immagine 20">
            <a:extLst>
              <a:ext uri="{FF2B5EF4-FFF2-40B4-BE49-F238E27FC236}">
                <a16:creationId xmlns:a16="http://schemas.microsoft.com/office/drawing/2014/main" id="{D5695E32-381A-B0F7-74D2-DEB76A7796B3}"/>
              </a:ext>
            </a:extLst>
          </p:cNvPr>
          <p:cNvPicPr>
            <a:picLocks noChangeAspect="1"/>
          </p:cNvPicPr>
          <p:nvPr/>
        </p:nvPicPr>
        <p:blipFill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602971" y="2119146"/>
            <a:ext cx="719070" cy="800238"/>
          </a:xfrm>
          <a:prstGeom prst="rect">
            <a:avLst/>
          </a:prstGeom>
        </p:spPr>
      </p:pic>
      <p:pic>
        <p:nvPicPr>
          <p:cNvPr id="53" name="Immagine 29">
            <a:extLst>
              <a:ext uri="{FF2B5EF4-FFF2-40B4-BE49-F238E27FC236}">
                <a16:creationId xmlns:a16="http://schemas.microsoft.com/office/drawing/2014/main" id="{76AF4C6D-B54E-E558-4886-41E4005B66CF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74755" y="2217691"/>
            <a:ext cx="901250" cy="645878"/>
          </a:xfrm>
          <a:prstGeom prst="rect">
            <a:avLst/>
          </a:prstGeom>
        </p:spPr>
      </p:pic>
      <p:pic>
        <p:nvPicPr>
          <p:cNvPr id="54" name="Immagine 8">
            <a:extLst>
              <a:ext uri="{FF2B5EF4-FFF2-40B4-BE49-F238E27FC236}">
                <a16:creationId xmlns:a16="http://schemas.microsoft.com/office/drawing/2014/main" id="{E5D7EB23-B13B-3C20-F6A4-9F06E65FD090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432726" y="2181618"/>
            <a:ext cx="1399830" cy="6610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46041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F94B54C4-D558-A54E-4E92-9CF4ED899A0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7610250-8776-0F5E-178C-E6EC157EF3F5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pPr marL="0" indent="0" algn="l" rtl="0">
              <a:buNone/>
            </a:pPr>
            <a:r>
              <a:rPr lang="pt-pt" b="0" i="0" u="none" baseline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307C2248-45CC-4490-DFD5-E9831975A0C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67FB85B9-5BC8-5BBF-32FA-1031541630D8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22</a:t>
            </a:fld>
            <a:endParaRPr lang="pt-pt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9B40B99-FE6D-C696-CD8A-4E3CE3B7833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 vert="horz" lIns="0" tIns="0" rIns="0" bIns="0" rtlCol="0" anchor="t">
            <a:noAutofit/>
          </a:bodyPr>
          <a:lstStyle/>
          <a:p>
            <a:pPr algn="l" rtl="0"/>
            <a:r>
              <a:rPr lang="pt-pt" b="0" i="0" u="none" baseline="0"/>
              <a:t>Filtros sobresselentes para VHC011...</a:t>
            </a:r>
            <a:endParaRPr lang="pt-pt" dirty="0">
              <a:solidFill>
                <a:srgbClr val="000000"/>
              </a:solidFill>
            </a:endParaRPr>
          </a:p>
          <a:p>
            <a:endParaRPr lang="pt-pt" dirty="0">
              <a:ea typeface="Roboto Light"/>
              <a:cs typeface="Roboto Light"/>
            </a:endParaRP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953302EA-6BD6-AAB3-5EB5-AE83639490A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Filtros VHC011 Z1 EXA </a:t>
            </a:r>
          </a:p>
        </p:txBody>
      </p:sp>
      <p:pic>
        <p:nvPicPr>
          <p:cNvPr id="44" name="Immagine 2">
            <a:extLst>
              <a:ext uri="{FF2B5EF4-FFF2-40B4-BE49-F238E27FC236}">
                <a16:creationId xmlns:a16="http://schemas.microsoft.com/office/drawing/2014/main" id="{3EAB69EF-AC8B-1E43-7E47-5C5A12341DE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9213242" y="1116137"/>
            <a:ext cx="2630697" cy="4591260"/>
          </a:xfrm>
          <a:prstGeom prst="rect">
            <a:avLst/>
          </a:prstGeom>
        </p:spPr>
      </p:pic>
      <p:sp>
        <p:nvSpPr>
          <p:cNvPr id="15" name="Content Placeholder 14">
            <a:extLst>
              <a:ext uri="{FF2B5EF4-FFF2-40B4-BE49-F238E27FC236}">
                <a16:creationId xmlns:a16="http://schemas.microsoft.com/office/drawing/2014/main" id="{99DB6D25-67F5-64EB-BFA0-27B3E760A0CD}"/>
              </a:ext>
            </a:extLst>
          </p:cNvPr>
          <p:cNvSpPr txBox="1">
            <a:spLocks/>
          </p:cNvSpPr>
          <p:nvPr/>
        </p:nvSpPr>
        <p:spPr>
          <a:xfrm>
            <a:off x="479425" y="5148192"/>
            <a:ext cx="7674704" cy="1169423"/>
          </a:xfrm>
          <a:prstGeom prst="rect">
            <a:avLst/>
          </a:prstGeom>
        </p:spPr>
        <p:txBody>
          <a:bodyPr vert="horz" wrap="square" lIns="0" tIns="0" rIns="0" bIns="0" rtlCol="0" anchor="b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44000" indent="-144000" algn="l" rtl="0"/>
            <a:r>
              <a:rPr lang="pt-pt" sz="1100" b="0" i="0" u="none" baseline="0"/>
              <a:t>Filtro sobresselente HEPA 14: </a:t>
            </a:r>
            <a:r>
              <a:rPr lang="pt-pt" sz="1100" b="0" i="0" u="none" baseline="0">
                <a:latin typeface="+mj-lt"/>
                <a:ea typeface="+mj-lt"/>
                <a:cs typeface="+mj-lt"/>
              </a:rPr>
              <a:t>4081701910</a:t>
            </a:r>
          </a:p>
          <a:p>
            <a:pPr marL="144000" indent="-144000" algn="l" rtl="0"/>
            <a:r>
              <a:rPr lang="pt-pt" sz="1100" b="0" i="0" u="none" baseline="0"/>
              <a:t>Cat. do filtro principal M: </a:t>
            </a:r>
            <a:r>
              <a:rPr lang="pt-pt" sz="1100" b="0" i="0" u="none" baseline="0">
                <a:latin typeface="+mj-lt"/>
                <a:ea typeface="+mj-lt"/>
                <a:cs typeface="+mj-lt"/>
              </a:rPr>
              <a:t>4081701855</a:t>
            </a:r>
          </a:p>
          <a:p>
            <a:pPr marL="144000" indent="-144000" algn="l" rtl="0"/>
            <a:r>
              <a:rPr lang="pt-pt" sz="1100" b="0" i="0" u="none" baseline="0"/>
              <a:t>Cat. do filtro principal M PTFE: </a:t>
            </a:r>
            <a:r>
              <a:rPr lang="pt-pt" sz="1100" b="0" i="0" u="none" baseline="0">
                <a:latin typeface="+mj-lt"/>
                <a:ea typeface="+mj-lt"/>
                <a:cs typeface="+mj-lt"/>
              </a:rPr>
              <a:t>4081701856</a:t>
            </a:r>
            <a:endParaRPr lang="pt-pt" sz="1100">
              <a:solidFill>
                <a:srgbClr val="8997A4"/>
              </a:solidFill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endParaRPr lang="pt-pt" sz="1100">
              <a:solidFill>
                <a:srgbClr val="8997A4"/>
              </a:solidFill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pt-pt" sz="1100" b="0" i="0" u="none" baseline="0">
                <a:solidFill>
                  <a:srgbClr val="8997A4"/>
                </a:solidFill>
              </a:rPr>
              <a:t>* Consulte o manual do utilizador e a lista de peças sobresselentes para obter informações </a:t>
            </a:r>
            <a:br>
              <a:rPr lang="pt-pt" sz="1100" b="0" i="0" u="none" baseline="0">
                <a:solidFill>
                  <a:srgbClr val="8997A4"/>
                </a:solidFill>
              </a:rPr>
            </a:br>
            <a:r>
              <a:rPr lang="pt-pt" sz="1100" b="0" i="0" u="none" baseline="0">
                <a:solidFill>
                  <a:srgbClr val="8997A4"/>
                </a:solidFill>
              </a:rPr>
              <a:t>sobre os kits de manutenção e sobresselentes</a:t>
            </a:r>
          </a:p>
        </p:txBody>
      </p:sp>
      <p:sp>
        <p:nvSpPr>
          <p:cNvPr id="16" name="Content Placeholder 13">
            <a:extLst>
              <a:ext uri="{FF2B5EF4-FFF2-40B4-BE49-F238E27FC236}">
                <a16:creationId xmlns:a16="http://schemas.microsoft.com/office/drawing/2014/main" id="{F9DE103F-0608-BF9F-D44D-2132363C4CF8}"/>
              </a:ext>
            </a:extLst>
          </p:cNvPr>
          <p:cNvSpPr txBox="1">
            <a:spLocks/>
          </p:cNvSpPr>
          <p:nvPr/>
        </p:nvSpPr>
        <p:spPr>
          <a:xfrm>
            <a:off x="473568" y="1814439"/>
            <a:ext cx="1703625" cy="2824299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368000" rIns="144000" bIns="180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pt-pt" sz="1500" b="0" i="0" u="none" spc="10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HEPA H14 </a:t>
            </a:r>
          </a:p>
          <a:p>
            <a:pPr marL="0" indent="0" algn="ctr" rtl="0">
              <a:spcBef>
                <a:spcPts val="0"/>
              </a:spcBef>
              <a:buNone/>
            </a:pPr>
            <a:r>
              <a:rPr lang="pt-pt" sz="1000" b="0" i="1" u="none" baseline="0">
                <a:solidFill>
                  <a:schemeClr val="tx2"/>
                </a:solidFill>
                <a:latin typeface="+mn-lt"/>
                <a:ea typeface="+mn-lt"/>
                <a:cs typeface="+mn-lt"/>
              </a:rPr>
              <a:t>4081701910</a:t>
            </a:r>
          </a:p>
          <a:p>
            <a:pPr marL="0" indent="0" algn="ctr" rtl="0">
              <a:spcBef>
                <a:spcPts val="600"/>
              </a:spcBef>
              <a:buNone/>
            </a:pPr>
            <a:r>
              <a:rPr lang="pt-pt" sz="10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Incluído nas versões </a:t>
            </a:r>
            <a:br>
              <a:rPr lang="pt-pt" sz="1000">
                <a:latin typeface="Roboto Bold" panose="02000000000000000000" pitchFamily="2" charset="0"/>
                <a:ea typeface="Roboto Bold" panose="02000000000000000000" pitchFamily="2" charset="0"/>
              </a:rPr>
            </a:br>
            <a:r>
              <a:rPr lang="pt-pt" sz="10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VHC011 AU </a:t>
            </a:r>
            <a:br>
              <a:rPr lang="pt-pt" sz="1000">
                <a:latin typeface="Roboto Bold" panose="02000000000000000000" pitchFamily="2" charset="0"/>
                <a:ea typeface="Roboto Bold" panose="02000000000000000000" pitchFamily="2" charset="0"/>
              </a:rPr>
            </a:br>
            <a:endParaRPr lang="pt-pt" sz="1000">
              <a:latin typeface="Roboto Bold" panose="02000000000000000000" pitchFamily="2" charset="0"/>
              <a:ea typeface="Roboto Bold" panose="02000000000000000000" pitchFamily="2" charset="0"/>
            </a:endParaRPr>
          </a:p>
        </p:txBody>
      </p:sp>
      <p:sp>
        <p:nvSpPr>
          <p:cNvPr id="17" name="Content Placeholder 13">
            <a:extLst>
              <a:ext uri="{FF2B5EF4-FFF2-40B4-BE49-F238E27FC236}">
                <a16:creationId xmlns:a16="http://schemas.microsoft.com/office/drawing/2014/main" id="{05CA943F-5826-A5E1-11C2-5D62318F5FD0}"/>
              </a:ext>
            </a:extLst>
          </p:cNvPr>
          <p:cNvSpPr txBox="1">
            <a:spLocks/>
          </p:cNvSpPr>
          <p:nvPr/>
        </p:nvSpPr>
        <p:spPr>
          <a:xfrm>
            <a:off x="2292131" y="1814439"/>
            <a:ext cx="1703625" cy="2824299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144000" tIns="1368000" rIns="144000" bIns="180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lnSpc>
                <a:spcPct val="100000"/>
              </a:lnSpc>
              <a:spcBef>
                <a:spcPts val="0"/>
              </a:spcBef>
              <a:spcAft>
                <a:spcPts val="600"/>
              </a:spcAft>
              <a:buNone/>
            </a:pPr>
            <a:r>
              <a:rPr lang="pt-pt" sz="1500" b="0" i="0" u="none" spc="10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Standard</a:t>
            </a:r>
          </a:p>
          <a:p>
            <a:pPr marL="0" indent="0" algn="ctr" rtl="0">
              <a:spcBef>
                <a:spcPts val="0"/>
              </a:spcBef>
              <a:buNone/>
            </a:pPr>
            <a:r>
              <a:rPr lang="pt-pt" sz="1000" b="0" i="1" u="none" baseline="0">
                <a:solidFill>
                  <a:schemeClr val="tx2"/>
                </a:solidFill>
                <a:latin typeface="+mn-lt"/>
                <a:ea typeface="+mn-lt"/>
                <a:cs typeface="+mn-lt"/>
              </a:rPr>
              <a:t>4081701855*</a:t>
            </a:r>
            <a:endParaRPr lang="pt-pt" sz="1000">
              <a:latin typeface="Roboto Bold" panose="02000000000000000000" pitchFamily="2" charset="0"/>
              <a:ea typeface="Roboto Bold" panose="02000000000000000000" pitchFamily="2" charset="0"/>
            </a:endParaRPr>
          </a:p>
          <a:p>
            <a:pPr marL="0" indent="0" algn="ctr" rtl="0">
              <a:spcBef>
                <a:spcPts val="600"/>
              </a:spcBef>
              <a:buNone/>
            </a:pPr>
            <a:r>
              <a:rPr lang="pt-pt" sz="10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VHC011</a:t>
            </a:r>
          </a:p>
        </p:txBody>
      </p:sp>
      <p:pic>
        <p:nvPicPr>
          <p:cNvPr id="20" name="Immagine 29">
            <a:extLst>
              <a:ext uri="{FF2B5EF4-FFF2-40B4-BE49-F238E27FC236}">
                <a16:creationId xmlns:a16="http://schemas.microsoft.com/office/drawing/2014/main" id="{F429C7B9-BFCE-4C46-D803-F37D03F9F6D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74755" y="2217691"/>
            <a:ext cx="901250" cy="645878"/>
          </a:xfrm>
          <a:prstGeom prst="rect">
            <a:avLst/>
          </a:prstGeom>
        </p:spPr>
      </p:pic>
      <p:pic>
        <p:nvPicPr>
          <p:cNvPr id="22" name="Immagine 13">
            <a:extLst>
              <a:ext uri="{FF2B5EF4-FFF2-40B4-BE49-F238E27FC236}">
                <a16:creationId xmlns:a16="http://schemas.microsoft.com/office/drawing/2014/main" id="{426B2899-DB67-3861-8458-81C0C6B8DD89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609393" y="2102947"/>
            <a:ext cx="1069099" cy="807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206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A2C6FAF0-D355-1443-E5C2-216B41A65F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D70A894D-AC78-EA68-3BA9-60AB274EB97C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0" y="0"/>
            <a:ext cx="12191999" cy="6283325"/>
          </a:xfrm>
        </p:spPr>
        <p:txBody>
          <a:bodyPr/>
          <a:lstStyle/>
          <a:p>
            <a:pPr algn="l" rtl="0"/>
            <a:r>
              <a:rPr lang="pt-pt" dirty="0"/>
              <a:t>5</a:t>
            </a:r>
            <a:endParaRPr lang="pt-pt" b="1" i="0" u="none" baseline="0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CB52E854-9418-0B81-1C92-5BB97D9E460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aracterísticas técnicas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7724BC42-9535-9499-31A7-433062D9412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5535DC4E-0CF2-DB41-9E86-8C953083D61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6272745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F46EED2-FCA7-94F5-DA5A-ED367BDD540C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4B8F8B5F-A388-0A14-6EA2-E569F58C5A1E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4</a:t>
            </a:fld>
            <a:endParaRPr lang="pt-p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93EDA80-5635-04C0-5180-AD354255B38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Mini IVS comprimido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6C9CCF24-321C-3A8E-7358-38D256DE326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Dados técnicos –</a:t>
            </a:r>
            <a:r>
              <a:rPr lang="pt-pt" b="0" i="0" u="none" baseline="0"/>
              <a:t> </a:t>
            </a:r>
            <a:r>
              <a:rPr lang="pt-pt" b="1" i="0" u="none" baseline="0"/>
              <a:t>UE, Reino Unido</a:t>
            </a:r>
          </a:p>
        </p:txBody>
      </p:sp>
      <p:graphicFrame>
        <p:nvGraphicFramePr>
          <p:cNvPr id="8" name="Tabella 17">
            <a:extLst>
              <a:ext uri="{FF2B5EF4-FFF2-40B4-BE49-F238E27FC236}">
                <a16:creationId xmlns:a16="http://schemas.microsoft.com/office/drawing/2014/main" id="{1F5FBA47-7E48-4D98-256B-4BFEE4A660F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78354128"/>
              </p:ext>
            </p:extLst>
          </p:nvPr>
        </p:nvGraphicFramePr>
        <p:xfrm>
          <a:off x="479425" y="1472715"/>
          <a:ext cx="11229840" cy="4663925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34000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val="1183238228"/>
                    </a:ext>
                  </a:extLst>
                </a:gridCol>
                <a:gridCol w="1224000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1296000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1476000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  <a:gridCol w="1296000">
                  <a:extLst>
                    <a:ext uri="{9D8B030D-6E8A-4147-A177-3AD203B41FA5}">
                      <a16:colId xmlns:a16="http://schemas.microsoft.com/office/drawing/2014/main" val="2419725259"/>
                    </a:ext>
                  </a:extLst>
                </a:gridCol>
                <a:gridCol w="1296000">
                  <a:extLst>
                    <a:ext uri="{9D8B030D-6E8A-4147-A177-3AD203B41FA5}">
                      <a16:colId xmlns:a16="http://schemas.microsoft.com/office/drawing/2014/main" val="4273360590"/>
                    </a:ext>
                  </a:extLst>
                </a:gridCol>
                <a:gridCol w="1296000">
                  <a:extLst>
                    <a:ext uri="{9D8B030D-6E8A-4147-A177-3AD203B41FA5}">
                      <a16:colId xmlns:a16="http://schemas.microsoft.com/office/drawing/2014/main" val="240676780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Dados técnicos 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Unidade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0 Z1 EXA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0 Z1 EXA SBS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0 Z1 EXA 2X SBS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1 Z1 EXA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1 Z1 EXA AU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1 Z1 EXA 3X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N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rtl="0" fontAlgn="ctr"/>
                      <a:endParaRPr lang="pt-pt" sz="900" b="0" i="0" u="none" strike="noStrike">
                        <a:solidFill>
                          <a:schemeClr val="tx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4061300042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4061300043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4061300044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4061300045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4061300046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4061300047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098483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onsumo de ar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l/min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30936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ressão de alimentação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Bar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Fluxo máximo de ar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/min – m³/h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033 – 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033 – 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033 – 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033 – 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033 – 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2033 – 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Fluxo de ar com mangueira de 3 metro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/min – m³/h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Aspiração máx.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Pa – mbar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4 – 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4 – 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4 – 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4 – 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4 – 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4 – 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5525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Ø Mangueira de fornecimento </a:t>
                      </a:r>
                      <a:b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e ar, externa-interna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739267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Nível de pressão sonora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dB(A)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30925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apacidade do depósito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5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5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5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506766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Tipo do filtro principal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Lã classe 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B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SB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artucho CLASSE 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artucho CLASSE 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artucho CLASSE 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496945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Área do filtro principal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m²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 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 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 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9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9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9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34756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Área H14 do filtro HEPA a montante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m²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 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2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 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97571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ntrada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m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362491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omprimento x Largura x Altura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81339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Peso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kg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7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7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7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19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58523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642798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903BFCD6-CB05-0248-A864-C66254A6EE7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1E64FF0D-6C5D-0B5B-38EC-88F5AE9C9380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4B75407-BED5-46B1-3E37-4AE5C90AF57B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5</a:t>
            </a:fld>
            <a:endParaRPr lang="pt-p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709B5E65-D695-D955-907E-44D52281BD08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Mini IVS comprimido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C424D649-05D7-1C9A-BC30-246A1BE0426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Dados técnicos –</a:t>
            </a:r>
            <a:r>
              <a:rPr lang="pt-pt" b="0" i="0" u="none" baseline="0"/>
              <a:t> </a:t>
            </a:r>
            <a:r>
              <a:rPr lang="pt-pt" b="1" i="0" u="none" baseline="0"/>
              <a:t>EUA</a:t>
            </a:r>
          </a:p>
        </p:txBody>
      </p:sp>
      <p:graphicFrame>
        <p:nvGraphicFramePr>
          <p:cNvPr id="8" name="Tabella 17">
            <a:extLst>
              <a:ext uri="{FF2B5EF4-FFF2-40B4-BE49-F238E27FC236}">
                <a16:creationId xmlns:a16="http://schemas.microsoft.com/office/drawing/2014/main" id="{A56DA059-246B-B1C2-F395-508CE6E0CC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6407093"/>
              </p:ext>
            </p:extLst>
          </p:nvPr>
        </p:nvGraphicFramePr>
        <p:xfrm>
          <a:off x="479425" y="1472715"/>
          <a:ext cx="11229840" cy="4663925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234000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1005840">
                  <a:extLst>
                    <a:ext uri="{9D8B030D-6E8A-4147-A177-3AD203B41FA5}">
                      <a16:colId xmlns:a16="http://schemas.microsoft.com/office/drawing/2014/main" val="1183238228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3798050745"/>
                    </a:ext>
                  </a:extLst>
                </a:gridCol>
                <a:gridCol w="1980000">
                  <a:extLst>
                    <a:ext uri="{9D8B030D-6E8A-4147-A177-3AD203B41FA5}">
                      <a16:colId xmlns:a16="http://schemas.microsoft.com/office/drawing/2014/main" val="3388787928"/>
                    </a:ext>
                  </a:extLst>
                </a:gridCol>
                <a:gridCol w="1944000">
                  <a:extLst>
                    <a:ext uri="{9D8B030D-6E8A-4147-A177-3AD203B41FA5}">
                      <a16:colId xmlns:a16="http://schemas.microsoft.com/office/drawing/2014/main" val="2419725259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Dados técnicos 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Unidade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0 EXP SBS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0 EXP 2X SBS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1 EXP AU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VHC011 EXP AU 3X</a:t>
                      </a:r>
                    </a:p>
                  </a:txBody>
                  <a:tcPr marL="54000" marR="54000" marT="72000" marB="72000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PN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defTabSz="1023967" rtl="0" fontAlgn="ctr"/>
                      <a:endParaRPr lang="pt-pt" sz="900" b="0" i="0" u="none" strike="noStrike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061300048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061300049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061300050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rtl="0" fontAlgn="b"/>
                      <a:r>
                        <a:rPr lang="pt-pt" sz="900" b="0" i="0" u="none" strike="noStrike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lt"/>
                          <a:cs typeface="+mn-lt"/>
                        </a:rPr>
                        <a:t>4061300051</a:t>
                      </a:r>
                    </a:p>
                  </a:txBody>
                  <a:tcPr marL="54000" marR="54000" marT="72000" marB="72000" anchor="b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098483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Consumo de ar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Nl/min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6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309365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Pressão de alimentação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Bar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Fluxo máximo de ar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L/min – m³/h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2033 </a:t>
                      </a: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 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2033 </a:t>
                      </a: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 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2033 </a:t>
                      </a: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 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2033 </a:t>
                      </a: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 12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Fluxo de ar com mangueira de 3 metro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L/min – m³/h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Aspiração máx.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kPa – mbar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34 </a:t>
                      </a: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 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34 </a:t>
                      </a: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 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34 </a:t>
                      </a: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 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34 </a:t>
                      </a: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</a:t>
                      </a: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 3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5525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Ø Mangueira de fornecimento </a:t>
                      </a:r>
                      <a:b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</a:b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de ar, externa-interna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M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2-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739267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Nível de pressão sonora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dB(A)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7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30925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Capacidade do depósito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L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3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5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5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506766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Tipo do filtro principal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 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SB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SB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Cartucho CLASSE 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Cartucho CLASSE 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496945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Área do filtro principal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m²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 </a:t>
                      </a:r>
                      <a:endParaRPr lang="pt-pt" sz="9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– </a:t>
                      </a:r>
                      <a:endParaRPr lang="pt-pt" sz="9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9000.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9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34756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Área H14 do filtro HEPA a montante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cm²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2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2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2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200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97571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Entrada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m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EXA 4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1362491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Comprimento x Largura x Altura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cm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41x43x8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09813395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Peso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kg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7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7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9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  <a:sym typeface=""/>
                        </a:rPr>
                        <a:t>19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6358523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08159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25498C6-522B-BFB4-BF12-6DBCE1EDA98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68020946-926D-D6A8-788A-7283130F3715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pt-pt" dirty="0"/>
              <a:t>6</a:t>
            </a:r>
            <a:endParaRPr lang="pt-pt" b="1" i="0" u="none" baseline="0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D418577E-4BE9-DE0A-89D7-8D607FAFF9B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905581"/>
            <a:ext cx="5376626" cy="3355393"/>
          </a:xfrm>
        </p:spPr>
        <p:txBody>
          <a:bodyPr/>
          <a:lstStyle/>
          <a:p>
            <a:pPr algn="l" rtl="0"/>
            <a:r>
              <a:rPr lang="pt-pt" b="0" i="0" u="none" baseline="0"/>
              <a:t>Designação e hierarquia de produtos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37235222-73AA-207B-9169-BF5A2216A3B6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C7C7F4A4-023D-95AB-1BA5-E729A68835F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6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25053402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8" name="Picture Placeholder 17">
            <a:extLst>
              <a:ext uri="{FF2B5EF4-FFF2-40B4-BE49-F238E27FC236}">
                <a16:creationId xmlns:a16="http://schemas.microsoft.com/office/drawing/2014/main" id="{E11E6A41-610C-E0A0-3671-F07DB58489C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7083656" y="1"/>
            <a:ext cx="5108344" cy="40513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r>
              <a:rPr lang="pt-pt" sz="2000" b="0" i="0" u="none" baseline="0">
                <a:solidFill>
                  <a:schemeClr val="tx1"/>
                </a:solidFill>
              </a:rPr>
              <a:t> </a:t>
            </a:r>
          </a:p>
        </p:txBody>
      </p:sp>
      <p:sp>
        <p:nvSpPr>
          <p:cNvPr id="107" name="Picture Placeholder 17">
            <a:extLst>
              <a:ext uri="{FF2B5EF4-FFF2-40B4-BE49-F238E27FC236}">
                <a16:creationId xmlns:a16="http://schemas.microsoft.com/office/drawing/2014/main" id="{C0820B14-86E9-DB6A-32D0-83D1A6C08206}"/>
              </a:ext>
            </a:extLst>
          </p:cNvPr>
          <p:cNvSpPr txBox="1">
            <a:spLocks/>
          </p:cNvSpPr>
          <p:nvPr/>
        </p:nvSpPr>
        <p:spPr>
          <a:xfrm>
            <a:off x="7083656" y="4082290"/>
            <a:ext cx="5108344" cy="220262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 cap="flat" cmpd="sng" algn="ctr">
            <a:noFill/>
            <a:prstDash val="solid"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60458" tIns="60458" rIns="60458" bIns="61200" rtlCol="0" anchor="ctr" anchorCtr="0">
            <a:noAutofit/>
          </a:bodyPr>
          <a:lstStyle>
            <a:lvl1pPr marL="0" indent="0" algn="ctr" defTabSz="1023967" rtl="0" eaLnBrk="1" latinLnBrk="0" hangingPunct="1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rtl="0"/>
            <a:r>
              <a:rPr lang="pt-pt" sz="2000" b="0" i="0" u="none" baseline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83B587E-C18E-9E03-9C63-3B114E01DBEE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25CE332-73E0-4D26-EBF8-F17F921FF59A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7</a:t>
            </a:fld>
            <a:endParaRPr lang="pt-pt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B0DDF39-D0BD-D89A-06A9-FCBA2E3BE3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6018652" cy="388013"/>
          </a:xfrm>
        </p:spPr>
        <p:txBody>
          <a:bodyPr/>
          <a:lstStyle/>
          <a:p>
            <a:pPr algn="l" rtl="0"/>
            <a:r>
              <a:rPr lang="pt-pt" b="1" i="0" u="none" baseline="0"/>
              <a:t>Designação e hierarquia de produtos</a:t>
            </a:r>
          </a:p>
        </p:txBody>
      </p:sp>
      <p:sp>
        <p:nvSpPr>
          <p:cNvPr id="43" name="CasellaDiTesto 7">
            <a:extLst>
              <a:ext uri="{FF2B5EF4-FFF2-40B4-BE49-F238E27FC236}">
                <a16:creationId xmlns:a16="http://schemas.microsoft.com/office/drawing/2014/main" id="{DFE36392-5600-B288-6855-05A70100FE56}"/>
              </a:ext>
            </a:extLst>
          </p:cNvPr>
          <p:cNvSpPr txBox="1"/>
          <p:nvPr/>
        </p:nvSpPr>
        <p:spPr>
          <a:xfrm>
            <a:off x="365600" y="4976613"/>
            <a:ext cx="1430972" cy="738664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pt-p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tabLst>
                <a:tab pos="177800" algn="l"/>
              </a:tabLst>
            </a:pPr>
            <a:r>
              <a:rPr lang="pt-pt" sz="14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C:</a:t>
            </a:r>
          </a:p>
          <a:p>
            <a:pPr algn="l" rtl="0">
              <a:tabLst>
                <a:tab pos="177800" algn="l"/>
              </a:tabLst>
            </a:pPr>
            <a:r>
              <a:rPr lang="pt-pt" sz="1400" b="0" i="0" u="none" baseline="0"/>
              <a:t>acionado por ar comprimido</a:t>
            </a:r>
          </a:p>
        </p:txBody>
      </p:sp>
      <p:sp>
        <p:nvSpPr>
          <p:cNvPr id="44" name="Titolo 6">
            <a:extLst>
              <a:ext uri="{FF2B5EF4-FFF2-40B4-BE49-F238E27FC236}">
                <a16:creationId xmlns:a16="http://schemas.microsoft.com/office/drawing/2014/main" id="{09011FA7-30B9-0D62-836E-7A1CB8C3338F}"/>
              </a:ext>
            </a:extLst>
          </p:cNvPr>
          <p:cNvSpPr txBox="1">
            <a:spLocks/>
          </p:cNvSpPr>
          <p:nvPr/>
        </p:nvSpPr>
        <p:spPr>
          <a:xfrm>
            <a:off x="1181684" y="1675646"/>
            <a:ext cx="4507715" cy="43686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/>
            <a:r>
              <a:rPr lang="pt-pt" sz="3500" b="1" i="0" u="none" baseline="0"/>
              <a:t>VHC010 Z1 </a:t>
            </a:r>
            <a:r>
              <a:rPr lang="pt-pt" sz="3500" b="1" i="0" u="none" baseline="0">
                <a:ea typeface="+mj-lt"/>
                <a:cs typeface="+mj-lt"/>
              </a:rPr>
              <a:t>EXA SBS </a:t>
            </a:r>
            <a:endParaRPr lang="pt-pt" sz="3500" dirty="0">
              <a:ea typeface="Roboto Bold"/>
              <a:cs typeface="Roboto Bold"/>
            </a:endParaRPr>
          </a:p>
        </p:txBody>
      </p:sp>
      <p:cxnSp>
        <p:nvCxnSpPr>
          <p:cNvPr id="45" name="Connettore diritto 7">
            <a:extLst>
              <a:ext uri="{FF2B5EF4-FFF2-40B4-BE49-F238E27FC236}">
                <a16:creationId xmlns:a16="http://schemas.microsoft.com/office/drawing/2014/main" id="{C7B33421-6FCA-8813-C3E7-CC171B263049}"/>
              </a:ext>
            </a:extLst>
          </p:cNvPr>
          <p:cNvCxnSpPr>
            <a:cxnSpLocks/>
          </p:cNvCxnSpPr>
          <p:nvPr/>
        </p:nvCxnSpPr>
        <p:spPr>
          <a:xfrm rot="5400000">
            <a:off x="1623001" y="2264954"/>
            <a:ext cx="497931" cy="99558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6" name="CasellaDiTesto 7">
            <a:extLst>
              <a:ext uri="{FF2B5EF4-FFF2-40B4-BE49-F238E27FC236}">
                <a16:creationId xmlns:a16="http://schemas.microsoft.com/office/drawing/2014/main" id="{10966A19-430B-237F-2B67-DC222C377EC5}"/>
              </a:ext>
            </a:extLst>
          </p:cNvPr>
          <p:cNvSpPr txBox="1"/>
          <p:nvPr/>
        </p:nvSpPr>
        <p:spPr>
          <a:xfrm>
            <a:off x="2862867" y="3053757"/>
            <a:ext cx="252028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pt-p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sz="14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0: </a:t>
            </a:r>
            <a:r>
              <a:rPr lang="pt-pt" sz="1400" b="0" i="0" u="none" baseline="0"/>
              <a:t>plataforma de 320 mm</a:t>
            </a:r>
          </a:p>
        </p:txBody>
      </p:sp>
      <p:cxnSp>
        <p:nvCxnSpPr>
          <p:cNvPr id="47" name="Connettore diritto 19">
            <a:extLst>
              <a:ext uri="{FF2B5EF4-FFF2-40B4-BE49-F238E27FC236}">
                <a16:creationId xmlns:a16="http://schemas.microsoft.com/office/drawing/2014/main" id="{9A66C9F7-77C4-BF6B-E23F-2D069F3DDDC6}"/>
              </a:ext>
            </a:extLst>
          </p:cNvPr>
          <p:cNvCxnSpPr>
            <a:cxnSpLocks/>
            <a:endCxn id="46" idx="1"/>
          </p:cNvCxnSpPr>
          <p:nvPr/>
        </p:nvCxnSpPr>
        <p:spPr>
          <a:xfrm rot="16200000" flipH="1">
            <a:off x="1946629" y="2291408"/>
            <a:ext cx="1142392" cy="690083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8" name="CasellaDiTesto 7">
            <a:extLst>
              <a:ext uri="{FF2B5EF4-FFF2-40B4-BE49-F238E27FC236}">
                <a16:creationId xmlns:a16="http://schemas.microsoft.com/office/drawing/2014/main" id="{D86572E5-4FDA-3FAD-03D5-7F631A49D46A}"/>
              </a:ext>
            </a:extLst>
          </p:cNvPr>
          <p:cNvSpPr txBox="1"/>
          <p:nvPr/>
        </p:nvSpPr>
        <p:spPr>
          <a:xfrm>
            <a:off x="2862867" y="2327551"/>
            <a:ext cx="252028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pt-p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sz="14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0: </a:t>
            </a:r>
            <a:r>
              <a:rPr lang="pt-pt" sz="1400" b="0" i="0" u="none" baseline="0"/>
              <a:t>eliminação segura</a:t>
            </a:r>
          </a:p>
        </p:txBody>
      </p:sp>
      <p:cxnSp>
        <p:nvCxnSpPr>
          <p:cNvPr id="49" name="Connettore diritto 25">
            <a:extLst>
              <a:ext uri="{FF2B5EF4-FFF2-40B4-BE49-F238E27FC236}">
                <a16:creationId xmlns:a16="http://schemas.microsoft.com/office/drawing/2014/main" id="{98874158-4C6F-4265-9852-E41D4DDB284B}"/>
              </a:ext>
            </a:extLst>
          </p:cNvPr>
          <p:cNvCxnSpPr>
            <a:cxnSpLocks/>
            <a:endCxn id="48" idx="1"/>
          </p:cNvCxnSpPr>
          <p:nvPr/>
        </p:nvCxnSpPr>
        <p:spPr>
          <a:xfrm rot="16200000" flipH="1">
            <a:off x="2568185" y="2186758"/>
            <a:ext cx="408686" cy="180678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Connettore diritto 14">
            <a:extLst>
              <a:ext uri="{FF2B5EF4-FFF2-40B4-BE49-F238E27FC236}">
                <a16:creationId xmlns:a16="http://schemas.microsoft.com/office/drawing/2014/main" id="{E8194ACD-E4F5-16F6-C06E-1D28192F879F}"/>
              </a:ext>
            </a:extLst>
          </p:cNvPr>
          <p:cNvCxnSpPr>
            <a:cxnSpLocks/>
            <a:endCxn id="75" idx="1"/>
          </p:cNvCxnSpPr>
          <p:nvPr/>
        </p:nvCxnSpPr>
        <p:spPr>
          <a:xfrm rot="16200000" flipH="1">
            <a:off x="2256827" y="2238073"/>
            <a:ext cx="771361" cy="440719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Straight Connector 50">
            <a:extLst>
              <a:ext uri="{FF2B5EF4-FFF2-40B4-BE49-F238E27FC236}">
                <a16:creationId xmlns:a16="http://schemas.microsoft.com/office/drawing/2014/main" id="{9ABAF262-04A9-0B94-44E7-92A6EBFB0B9D}"/>
              </a:ext>
            </a:extLst>
          </p:cNvPr>
          <p:cNvCxnSpPr/>
          <p:nvPr/>
        </p:nvCxnSpPr>
        <p:spPr>
          <a:xfrm>
            <a:off x="1831453" y="2065260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Straight Connector 51">
            <a:extLst>
              <a:ext uri="{FF2B5EF4-FFF2-40B4-BE49-F238E27FC236}">
                <a16:creationId xmlns:a16="http://schemas.microsoft.com/office/drawing/2014/main" id="{6E84D569-F6C1-688B-61A1-906008DD9311}"/>
              </a:ext>
            </a:extLst>
          </p:cNvPr>
          <p:cNvCxnSpPr/>
          <p:nvPr/>
        </p:nvCxnSpPr>
        <p:spPr>
          <a:xfrm>
            <a:off x="2080818" y="2065260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3" name="Straight Connector 52">
            <a:extLst>
              <a:ext uri="{FF2B5EF4-FFF2-40B4-BE49-F238E27FC236}">
                <a16:creationId xmlns:a16="http://schemas.microsoft.com/office/drawing/2014/main" id="{160BD6C7-E8BE-BDEF-C91A-7CC77D40BD3B}"/>
              </a:ext>
            </a:extLst>
          </p:cNvPr>
          <p:cNvCxnSpPr/>
          <p:nvPr/>
        </p:nvCxnSpPr>
        <p:spPr>
          <a:xfrm>
            <a:off x="2327978" y="2065260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Straight Connector 53">
            <a:extLst>
              <a:ext uri="{FF2B5EF4-FFF2-40B4-BE49-F238E27FC236}">
                <a16:creationId xmlns:a16="http://schemas.microsoft.com/office/drawing/2014/main" id="{3EBC1513-54E0-4C64-B7F8-F560AC524F58}"/>
              </a:ext>
            </a:extLst>
          </p:cNvPr>
          <p:cNvCxnSpPr/>
          <p:nvPr/>
        </p:nvCxnSpPr>
        <p:spPr>
          <a:xfrm>
            <a:off x="2603346" y="2065260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5" name="Titolo 6">
            <a:extLst>
              <a:ext uri="{FF2B5EF4-FFF2-40B4-BE49-F238E27FC236}">
                <a16:creationId xmlns:a16="http://schemas.microsoft.com/office/drawing/2014/main" id="{BEAE2CB8-3FAF-3CDD-C0E0-256EC8C49C6F}"/>
              </a:ext>
            </a:extLst>
          </p:cNvPr>
          <p:cNvSpPr txBox="1">
            <a:spLocks/>
          </p:cNvSpPr>
          <p:nvPr/>
        </p:nvSpPr>
        <p:spPr>
          <a:xfrm>
            <a:off x="1181684" y="4284405"/>
            <a:ext cx="4507715" cy="43686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1023967" rtl="0" eaLnBrk="1" latinLnBrk="0" hangingPunct="1">
              <a:lnSpc>
                <a:spcPts val="3100"/>
              </a:lnSpc>
              <a:spcBef>
                <a:spcPct val="0"/>
              </a:spcBef>
              <a:spcAft>
                <a:spcPts val="400"/>
              </a:spcAft>
              <a:buNone/>
              <a:tabLst>
                <a:tab pos="989013" algn="l"/>
              </a:tabLst>
              <a:defRPr sz="28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rtl="0"/>
            <a:r>
              <a:rPr lang="pt-pt" sz="3500" b="1" i="0" u="none" baseline="0"/>
              <a:t>VHC011 Z1 EXA</a:t>
            </a:r>
          </a:p>
        </p:txBody>
      </p:sp>
      <p:cxnSp>
        <p:nvCxnSpPr>
          <p:cNvPr id="56" name="Connettore diritto 7">
            <a:extLst>
              <a:ext uri="{FF2B5EF4-FFF2-40B4-BE49-F238E27FC236}">
                <a16:creationId xmlns:a16="http://schemas.microsoft.com/office/drawing/2014/main" id="{D9A2C129-70EA-A4FB-40B6-8514073A18AD}"/>
              </a:ext>
            </a:extLst>
          </p:cNvPr>
          <p:cNvCxnSpPr>
            <a:cxnSpLocks/>
            <a:endCxn id="43" idx="3"/>
          </p:cNvCxnSpPr>
          <p:nvPr/>
        </p:nvCxnSpPr>
        <p:spPr>
          <a:xfrm rot="5400000">
            <a:off x="1523194" y="4947392"/>
            <a:ext cx="671931" cy="125174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CasellaDiTesto 7">
            <a:extLst>
              <a:ext uri="{FF2B5EF4-FFF2-40B4-BE49-F238E27FC236}">
                <a16:creationId xmlns:a16="http://schemas.microsoft.com/office/drawing/2014/main" id="{898D8743-A0BB-E3DF-9992-2B295FB877CF}"/>
              </a:ext>
            </a:extLst>
          </p:cNvPr>
          <p:cNvSpPr txBox="1"/>
          <p:nvPr/>
        </p:nvSpPr>
        <p:spPr>
          <a:xfrm>
            <a:off x="2862867" y="5669418"/>
            <a:ext cx="252028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pt-p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sz="14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0:</a:t>
            </a:r>
            <a:r>
              <a:rPr lang="pt-pt" sz="1400" b="0" i="0" u="none" baseline="0"/>
              <a:t> plataforma de 320 mm</a:t>
            </a:r>
          </a:p>
        </p:txBody>
      </p:sp>
      <p:cxnSp>
        <p:nvCxnSpPr>
          <p:cNvPr id="58" name="Connettore diritto 19">
            <a:extLst>
              <a:ext uri="{FF2B5EF4-FFF2-40B4-BE49-F238E27FC236}">
                <a16:creationId xmlns:a16="http://schemas.microsoft.com/office/drawing/2014/main" id="{6C0644A6-F575-0759-C299-3805D36C415E}"/>
              </a:ext>
            </a:extLst>
          </p:cNvPr>
          <p:cNvCxnSpPr>
            <a:cxnSpLocks/>
            <a:endCxn id="57" idx="1"/>
          </p:cNvCxnSpPr>
          <p:nvPr/>
        </p:nvCxnSpPr>
        <p:spPr>
          <a:xfrm rot="16200000" flipH="1">
            <a:off x="1942364" y="4902804"/>
            <a:ext cx="1150924" cy="690082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9" name="CasellaDiTesto 7">
            <a:extLst>
              <a:ext uri="{FF2B5EF4-FFF2-40B4-BE49-F238E27FC236}">
                <a16:creationId xmlns:a16="http://schemas.microsoft.com/office/drawing/2014/main" id="{F69EBF55-1618-5F92-6183-EACB3BC1A9CC}"/>
              </a:ext>
            </a:extLst>
          </p:cNvPr>
          <p:cNvSpPr txBox="1"/>
          <p:nvPr/>
        </p:nvSpPr>
        <p:spPr>
          <a:xfrm>
            <a:off x="2862867" y="4945835"/>
            <a:ext cx="252028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pt-p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sz="14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1: </a:t>
            </a:r>
            <a:r>
              <a:rPr lang="pt-pt" sz="1400" b="0" i="0" u="none" baseline="0"/>
              <a:t>Versão PullClean</a:t>
            </a:r>
            <a:r>
              <a:rPr lang="pt-PT" sz="1400" b="0" i="0" u="none" baseline="0"/>
              <a:t>™</a:t>
            </a:r>
            <a:endParaRPr lang="pt-pt" sz="1400" b="0" i="0" u="none" baseline="0"/>
          </a:p>
        </p:txBody>
      </p:sp>
      <p:cxnSp>
        <p:nvCxnSpPr>
          <p:cNvPr id="60" name="Connettore diritto 25">
            <a:extLst>
              <a:ext uri="{FF2B5EF4-FFF2-40B4-BE49-F238E27FC236}">
                <a16:creationId xmlns:a16="http://schemas.microsoft.com/office/drawing/2014/main" id="{8D881573-530B-DAEE-3FB8-793C85CC735C}"/>
              </a:ext>
            </a:extLst>
          </p:cNvPr>
          <p:cNvCxnSpPr>
            <a:cxnSpLocks/>
            <a:endCxn id="59" idx="1"/>
          </p:cNvCxnSpPr>
          <p:nvPr/>
        </p:nvCxnSpPr>
        <p:spPr>
          <a:xfrm rot="16200000" flipH="1">
            <a:off x="2568186" y="4805043"/>
            <a:ext cx="408684" cy="180678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1" name="Connettore diritto 14">
            <a:extLst>
              <a:ext uri="{FF2B5EF4-FFF2-40B4-BE49-F238E27FC236}">
                <a16:creationId xmlns:a16="http://schemas.microsoft.com/office/drawing/2014/main" id="{1B0AF3A6-ACF8-076C-7763-D312BB2B2A10}"/>
              </a:ext>
            </a:extLst>
          </p:cNvPr>
          <p:cNvCxnSpPr>
            <a:cxnSpLocks/>
            <a:endCxn id="74" idx="1"/>
          </p:cNvCxnSpPr>
          <p:nvPr/>
        </p:nvCxnSpPr>
        <p:spPr>
          <a:xfrm rot="16200000" flipH="1">
            <a:off x="2246615" y="4841197"/>
            <a:ext cx="783438" cy="449066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2" name="Straight Connector 61">
            <a:extLst>
              <a:ext uri="{FF2B5EF4-FFF2-40B4-BE49-F238E27FC236}">
                <a16:creationId xmlns:a16="http://schemas.microsoft.com/office/drawing/2014/main" id="{C4A50A33-013E-34A0-42D4-DC3C89A596F4}"/>
              </a:ext>
            </a:extLst>
          </p:cNvPr>
          <p:cNvCxnSpPr/>
          <p:nvPr/>
        </p:nvCxnSpPr>
        <p:spPr>
          <a:xfrm>
            <a:off x="1831453" y="4674019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3" name="Straight Connector 62">
            <a:extLst>
              <a:ext uri="{FF2B5EF4-FFF2-40B4-BE49-F238E27FC236}">
                <a16:creationId xmlns:a16="http://schemas.microsoft.com/office/drawing/2014/main" id="{DB1E219A-F386-F149-3E0F-27B4C618A3E9}"/>
              </a:ext>
            </a:extLst>
          </p:cNvPr>
          <p:cNvCxnSpPr/>
          <p:nvPr/>
        </p:nvCxnSpPr>
        <p:spPr>
          <a:xfrm>
            <a:off x="2080818" y="4674019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4" name="Straight Connector 63">
            <a:extLst>
              <a:ext uri="{FF2B5EF4-FFF2-40B4-BE49-F238E27FC236}">
                <a16:creationId xmlns:a16="http://schemas.microsoft.com/office/drawing/2014/main" id="{60D4CFE9-A1D8-5B60-500D-42D3FD39F1F0}"/>
              </a:ext>
            </a:extLst>
          </p:cNvPr>
          <p:cNvCxnSpPr/>
          <p:nvPr/>
        </p:nvCxnSpPr>
        <p:spPr>
          <a:xfrm>
            <a:off x="2327978" y="4674019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5" name="Straight Connector 64">
            <a:extLst>
              <a:ext uri="{FF2B5EF4-FFF2-40B4-BE49-F238E27FC236}">
                <a16:creationId xmlns:a16="http://schemas.microsoft.com/office/drawing/2014/main" id="{11262A68-B3F3-F65B-9A22-15702A44DF18}"/>
              </a:ext>
            </a:extLst>
          </p:cNvPr>
          <p:cNvCxnSpPr/>
          <p:nvPr/>
        </p:nvCxnSpPr>
        <p:spPr>
          <a:xfrm>
            <a:off x="2603346" y="4674019"/>
            <a:ext cx="182880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6" name="Connettore diritto 28">
            <a:extLst>
              <a:ext uri="{FF2B5EF4-FFF2-40B4-BE49-F238E27FC236}">
                <a16:creationId xmlns:a16="http://schemas.microsoft.com/office/drawing/2014/main" id="{01D157A0-DB4F-02C6-43F7-272891A2A21D}"/>
              </a:ext>
            </a:extLst>
          </p:cNvPr>
          <p:cNvCxnSpPr>
            <a:cxnSpLocks/>
            <a:endCxn id="67" idx="0"/>
          </p:cNvCxnSpPr>
          <p:nvPr/>
        </p:nvCxnSpPr>
        <p:spPr>
          <a:xfrm>
            <a:off x="4304744" y="2065254"/>
            <a:ext cx="1436469" cy="503735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CasellaDiTesto 7">
            <a:extLst>
              <a:ext uri="{FF2B5EF4-FFF2-40B4-BE49-F238E27FC236}">
                <a16:creationId xmlns:a16="http://schemas.microsoft.com/office/drawing/2014/main" id="{515297ED-9E3F-88DF-F08B-17A747FAA7B0}"/>
              </a:ext>
            </a:extLst>
          </p:cNvPr>
          <p:cNvSpPr txBox="1"/>
          <p:nvPr/>
        </p:nvSpPr>
        <p:spPr>
          <a:xfrm>
            <a:off x="5157602" y="2568989"/>
            <a:ext cx="1167221" cy="261610"/>
          </a:xfrm>
          <a:prstGeom prst="rect">
            <a:avLst/>
          </a:prstGeom>
          <a:noFill/>
        </p:spPr>
        <p:txBody>
          <a:bodyPr wrap="square" bIns="0" rtlCol="0">
            <a:spAutoFit/>
          </a:bodyPr>
          <a:lstStyle>
            <a:defPPr>
              <a:defRPr lang="pt-p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r>
              <a:rPr lang="pt-pt" sz="1400" b="0" i="0" u="none" baseline="0"/>
              <a:t>Acrónimos</a:t>
            </a:r>
          </a:p>
        </p:txBody>
      </p:sp>
      <p:cxnSp>
        <p:nvCxnSpPr>
          <p:cNvPr id="68" name="Straight Connector 67">
            <a:extLst>
              <a:ext uri="{FF2B5EF4-FFF2-40B4-BE49-F238E27FC236}">
                <a16:creationId xmlns:a16="http://schemas.microsoft.com/office/drawing/2014/main" id="{F86D0EE6-DF9B-DE34-97CA-1BAA9B953658}"/>
              </a:ext>
            </a:extLst>
          </p:cNvPr>
          <p:cNvCxnSpPr>
            <a:cxnSpLocks/>
          </p:cNvCxnSpPr>
          <p:nvPr/>
        </p:nvCxnSpPr>
        <p:spPr>
          <a:xfrm>
            <a:off x="2962301" y="2065260"/>
            <a:ext cx="2425058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0" name="Connettore diritto 28">
            <a:extLst>
              <a:ext uri="{FF2B5EF4-FFF2-40B4-BE49-F238E27FC236}">
                <a16:creationId xmlns:a16="http://schemas.microsoft.com/office/drawing/2014/main" id="{93B755B8-8246-037D-5ECB-9DCE938BBE6D}"/>
              </a:ext>
            </a:extLst>
          </p:cNvPr>
          <p:cNvCxnSpPr>
            <a:cxnSpLocks/>
            <a:endCxn id="71" idx="0"/>
          </p:cNvCxnSpPr>
          <p:nvPr/>
        </p:nvCxnSpPr>
        <p:spPr>
          <a:xfrm>
            <a:off x="4304744" y="4674014"/>
            <a:ext cx="1436469" cy="503735"/>
          </a:xfrm>
          <a:prstGeom prst="bentConnector2">
            <a:avLst/>
          </a:prstGeom>
          <a:ln w="6350">
            <a:solidFill>
              <a:schemeClr val="accent3"/>
            </a:solidFill>
            <a:prstDash val="dash"/>
            <a:tail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1" name="CasellaDiTesto 7">
            <a:extLst>
              <a:ext uri="{FF2B5EF4-FFF2-40B4-BE49-F238E27FC236}">
                <a16:creationId xmlns:a16="http://schemas.microsoft.com/office/drawing/2014/main" id="{1E9C1C71-A672-44B8-8792-D110035AAF7F}"/>
              </a:ext>
            </a:extLst>
          </p:cNvPr>
          <p:cNvSpPr txBox="1"/>
          <p:nvPr/>
        </p:nvSpPr>
        <p:spPr>
          <a:xfrm>
            <a:off x="5157602" y="5177749"/>
            <a:ext cx="1167221" cy="261610"/>
          </a:xfrm>
          <a:prstGeom prst="rect">
            <a:avLst/>
          </a:prstGeom>
          <a:noFill/>
        </p:spPr>
        <p:txBody>
          <a:bodyPr wrap="square" bIns="0" rtlCol="0">
            <a:spAutoFit/>
          </a:bodyPr>
          <a:lstStyle>
            <a:defPPr>
              <a:defRPr lang="pt-p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 rtl="0"/>
            <a:r>
              <a:rPr lang="pt-pt" sz="1400" b="0" i="0" u="none" baseline="0"/>
              <a:t>Acrónimos</a:t>
            </a:r>
          </a:p>
        </p:txBody>
      </p:sp>
      <p:cxnSp>
        <p:nvCxnSpPr>
          <p:cNvPr id="72" name="Straight Connector 71">
            <a:extLst>
              <a:ext uri="{FF2B5EF4-FFF2-40B4-BE49-F238E27FC236}">
                <a16:creationId xmlns:a16="http://schemas.microsoft.com/office/drawing/2014/main" id="{96D788F2-849F-5EFB-44C9-AB2A71331193}"/>
              </a:ext>
            </a:extLst>
          </p:cNvPr>
          <p:cNvCxnSpPr>
            <a:cxnSpLocks/>
          </p:cNvCxnSpPr>
          <p:nvPr/>
        </p:nvCxnSpPr>
        <p:spPr>
          <a:xfrm>
            <a:off x="2962301" y="4674020"/>
            <a:ext cx="2425058" cy="0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3" name="CasellaDiTesto 7">
            <a:extLst>
              <a:ext uri="{FF2B5EF4-FFF2-40B4-BE49-F238E27FC236}">
                <a16:creationId xmlns:a16="http://schemas.microsoft.com/office/drawing/2014/main" id="{A3DE67BC-FFFD-C556-716F-2BA26E96AC8E}"/>
              </a:ext>
            </a:extLst>
          </p:cNvPr>
          <p:cNvSpPr txBox="1"/>
          <p:nvPr/>
        </p:nvSpPr>
        <p:spPr>
          <a:xfrm>
            <a:off x="387869" y="2187908"/>
            <a:ext cx="1430972" cy="738664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pt-p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>
              <a:tabLst>
                <a:tab pos="177800" algn="l"/>
              </a:tabLst>
            </a:pPr>
            <a:r>
              <a:rPr lang="pt-pt" sz="14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C:</a:t>
            </a:r>
          </a:p>
          <a:p>
            <a:pPr algn="l" rtl="0">
              <a:tabLst>
                <a:tab pos="177800" algn="l"/>
              </a:tabLst>
            </a:pPr>
            <a:r>
              <a:rPr lang="pt-pt" sz="1400" b="0" i="0" u="none" baseline="0"/>
              <a:t>acionado por ar comprimido</a:t>
            </a:r>
          </a:p>
        </p:txBody>
      </p:sp>
      <p:sp>
        <p:nvSpPr>
          <p:cNvPr id="74" name="CasellaDiTesto 7">
            <a:extLst>
              <a:ext uri="{FF2B5EF4-FFF2-40B4-BE49-F238E27FC236}">
                <a16:creationId xmlns:a16="http://schemas.microsoft.com/office/drawing/2014/main" id="{86FB906A-9777-3BD9-7221-862F3B0B7AAD}"/>
              </a:ext>
            </a:extLst>
          </p:cNvPr>
          <p:cNvSpPr txBox="1"/>
          <p:nvPr/>
        </p:nvSpPr>
        <p:spPr>
          <a:xfrm>
            <a:off x="2862867" y="5303560"/>
            <a:ext cx="252028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pt-p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sz="14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1: </a:t>
            </a:r>
            <a:r>
              <a:rPr lang="pt-pt" sz="1400" b="0" i="0" u="none" baseline="0"/>
              <a:t>bomba pneumática</a:t>
            </a:r>
          </a:p>
        </p:txBody>
      </p:sp>
      <p:sp>
        <p:nvSpPr>
          <p:cNvPr id="75" name="CasellaDiTesto 7">
            <a:extLst>
              <a:ext uri="{FF2B5EF4-FFF2-40B4-BE49-F238E27FC236}">
                <a16:creationId xmlns:a16="http://schemas.microsoft.com/office/drawing/2014/main" id="{985A155D-EE6F-348C-D58C-503C282CD929}"/>
              </a:ext>
            </a:extLst>
          </p:cNvPr>
          <p:cNvSpPr txBox="1"/>
          <p:nvPr/>
        </p:nvSpPr>
        <p:spPr>
          <a:xfrm>
            <a:off x="2862867" y="2690225"/>
            <a:ext cx="2520280" cy="307777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>
            <a:defPPr>
              <a:defRPr lang="pt-pt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rtl="0"/>
            <a:r>
              <a:rPr lang="pt-pt" sz="14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1: </a:t>
            </a:r>
            <a:r>
              <a:rPr lang="pt-pt" sz="1400" b="0" i="0" u="none" baseline="0"/>
              <a:t>bomba pneumática</a:t>
            </a:r>
          </a:p>
        </p:txBody>
      </p:sp>
      <p:sp>
        <p:nvSpPr>
          <p:cNvPr id="79" name="Content Placeholder 14">
            <a:extLst>
              <a:ext uri="{FF2B5EF4-FFF2-40B4-BE49-F238E27FC236}">
                <a16:creationId xmlns:a16="http://schemas.microsoft.com/office/drawing/2014/main" id="{D1E8A896-084B-9A53-8CA1-F1BAFB9F7908}"/>
              </a:ext>
            </a:extLst>
          </p:cNvPr>
          <p:cNvSpPr txBox="1">
            <a:spLocks/>
          </p:cNvSpPr>
          <p:nvPr/>
        </p:nvSpPr>
        <p:spPr>
          <a:xfrm>
            <a:off x="7414175" y="629455"/>
            <a:ext cx="1933222" cy="3160737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pt-pt" sz="16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L3 = Ar comprimido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endParaRPr lang="pt-pt" sz="1050">
              <a:latin typeface="Roboto Bold" panose="02000000000000000000" pitchFamily="2" charset="0"/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pt-pt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L4 = VHC01 ATEX</a:t>
            </a:r>
            <a:endParaRPr lang="pt-pt" sz="1100">
              <a:latin typeface="Roboto Bold" panose="02000000000000000000" pitchFamily="2" charset="0"/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pt-pt" sz="11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L5 = VHC010 ATEX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pt-pt" sz="105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L6:	</a:t>
            </a:r>
            <a:r>
              <a:rPr lang="pt-pt" sz="1050" b="0" i="0" u="none" baseline="0"/>
              <a:t>• VHC010 Z1 EXA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None/>
              <a:tabLst>
                <a:tab pos="266700" algn="l"/>
              </a:tabLst>
            </a:pPr>
            <a:r>
              <a:rPr lang="pt-pt" sz="1050" b="0" i="0" u="none" baseline="0"/>
              <a:t>	• VHC010 SBS Z1 EXA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None/>
              <a:tabLst>
                <a:tab pos="266700" algn="l"/>
              </a:tabLst>
            </a:pPr>
            <a:r>
              <a:rPr lang="pt-pt" sz="11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L5 = VHC011 ATEX</a:t>
            </a:r>
            <a:endParaRPr lang="pt-pt" sz="1200">
              <a:latin typeface="Roboto Bold" panose="02000000000000000000" pitchFamily="2" charset="0"/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pt-pt" sz="11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L6:	</a:t>
            </a:r>
            <a:r>
              <a:rPr lang="pt-pt" sz="1050" b="0" i="0" u="none" baseline="0"/>
              <a:t>• VHC011 Z1 EXA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None/>
              <a:tabLst>
                <a:tab pos="266700" algn="l"/>
              </a:tabLst>
            </a:pPr>
            <a:r>
              <a:rPr lang="pt-pt" sz="1050" b="0" i="0" u="none" baseline="0"/>
              <a:t>	• VHC011 Z1 EXA AU 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pt-pt" sz="11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L5 = VHC010 EXP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pt-pt" sz="105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L6:</a:t>
            </a:r>
            <a:r>
              <a:rPr lang="pt-pt" sz="1050" b="0" i="0" u="none" baseline="0"/>
              <a:t>	• VHC010 EXP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None/>
              <a:tabLst>
                <a:tab pos="266700" algn="l"/>
              </a:tabLst>
            </a:pPr>
            <a:r>
              <a:rPr lang="pt-pt" sz="1050" b="0" i="0" u="none" baseline="0"/>
              <a:t>	• VHC010 SBS EXP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None/>
              <a:tabLst>
                <a:tab pos="266700" algn="l"/>
              </a:tabLst>
            </a:pPr>
            <a:r>
              <a:rPr lang="pt-pt" sz="12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L5 = VHC011 EXP</a:t>
            </a:r>
            <a:endParaRPr lang="pt-pt" sz="1400">
              <a:latin typeface="Roboto Bold" panose="02000000000000000000" pitchFamily="2" charset="0"/>
            </a:endParaRP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Font typeface="Arial" panose="020B0604020202020204" pitchFamily="34" charset="0"/>
              <a:buNone/>
              <a:tabLst>
                <a:tab pos="266700" algn="l"/>
              </a:tabLst>
            </a:pPr>
            <a:r>
              <a:rPr lang="pt-pt" sz="12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L6:</a:t>
            </a:r>
            <a:r>
              <a:rPr lang="pt-pt" sz="1100" b="0" i="0" u="none" baseline="0"/>
              <a:t>	• VHC011 EXP</a:t>
            </a:r>
          </a:p>
          <a:p>
            <a:pPr marL="0" indent="0" algn="l" rtl="0">
              <a:lnSpc>
                <a:spcPct val="120000"/>
              </a:lnSpc>
              <a:spcBef>
                <a:spcPts val="0"/>
              </a:spcBef>
              <a:buClr>
                <a:schemeClr val="tx1"/>
              </a:buClr>
              <a:buNone/>
              <a:tabLst>
                <a:tab pos="266700" algn="l"/>
              </a:tabLst>
            </a:pPr>
            <a:r>
              <a:rPr lang="pt-pt" sz="1100" b="0" i="0" u="none" baseline="0"/>
              <a:t>	• VHC011 EXP AU</a:t>
            </a:r>
            <a:endParaRPr lang="pt-pt" sz="1600">
              <a:latin typeface="Roboto Bold" panose="02000000000000000000" pitchFamily="2" charset="0"/>
            </a:endParaRPr>
          </a:p>
        </p:txBody>
      </p:sp>
      <p:pic>
        <p:nvPicPr>
          <p:cNvPr id="90" name="Picture 89" descr="A close-up of a vacuum&#10;&#10;AI-generated content may be incorrect.">
            <a:extLst>
              <a:ext uri="{FF2B5EF4-FFF2-40B4-BE49-F238E27FC236}">
                <a16:creationId xmlns:a16="http://schemas.microsoft.com/office/drawing/2014/main" id="{611D86F8-6A50-00F5-073F-5762F4AC3B03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451" y="1114067"/>
            <a:ext cx="1112466" cy="1480984"/>
          </a:xfrm>
          <a:prstGeom prst="rect">
            <a:avLst/>
          </a:prstGeom>
        </p:spPr>
      </p:pic>
      <p:pic>
        <p:nvPicPr>
          <p:cNvPr id="91" name="Picture 90" descr="A close-up of a vacuum&#10;&#10;AI-generated content may be incorrect.">
            <a:extLst>
              <a:ext uri="{FF2B5EF4-FFF2-40B4-BE49-F238E27FC236}">
                <a16:creationId xmlns:a16="http://schemas.microsoft.com/office/drawing/2014/main" id="{57998AB3-9653-51AF-41F0-F8ABB54C3BF0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30145" y="1114066"/>
            <a:ext cx="1221856" cy="1521262"/>
          </a:xfrm>
          <a:prstGeom prst="rect">
            <a:avLst/>
          </a:prstGeom>
        </p:spPr>
      </p:pic>
      <p:pic>
        <p:nvPicPr>
          <p:cNvPr id="92" name="Picture 91" descr="A close-up of a vacuum&#10;&#10;AI-generated content may be incorrect.">
            <a:extLst>
              <a:ext uri="{FF2B5EF4-FFF2-40B4-BE49-F238E27FC236}">
                <a16:creationId xmlns:a16="http://schemas.microsoft.com/office/drawing/2014/main" id="{99A2780D-3B6A-C062-56B0-E9A31826891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451" y="2561029"/>
            <a:ext cx="1112466" cy="1480984"/>
          </a:xfrm>
          <a:prstGeom prst="rect">
            <a:avLst/>
          </a:prstGeom>
        </p:spPr>
      </p:pic>
      <p:pic>
        <p:nvPicPr>
          <p:cNvPr id="93" name="Picture 92" descr="A close-up of a vacuum&#10;&#10;AI-generated content may be incorrect.">
            <a:extLst>
              <a:ext uri="{FF2B5EF4-FFF2-40B4-BE49-F238E27FC236}">
                <a16:creationId xmlns:a16="http://schemas.microsoft.com/office/drawing/2014/main" id="{0A96768E-05F2-1866-7246-A7B5B3226A8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30145" y="2561028"/>
            <a:ext cx="1221856" cy="1521262"/>
          </a:xfrm>
          <a:prstGeom prst="rect">
            <a:avLst/>
          </a:prstGeom>
        </p:spPr>
      </p:pic>
      <p:pic>
        <p:nvPicPr>
          <p:cNvPr id="94" name="Picture 93" descr="A close-up of a vacuum&#10;&#10;AI-generated content may be incorrect.">
            <a:extLst>
              <a:ext uri="{FF2B5EF4-FFF2-40B4-BE49-F238E27FC236}">
                <a16:creationId xmlns:a16="http://schemas.microsoft.com/office/drawing/2014/main" id="{50FCB1CF-34FC-593A-3049-55CAFBE258C1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588451" y="4672383"/>
            <a:ext cx="1112466" cy="1480984"/>
          </a:xfrm>
          <a:prstGeom prst="rect">
            <a:avLst/>
          </a:prstGeom>
        </p:spPr>
      </p:pic>
      <p:pic>
        <p:nvPicPr>
          <p:cNvPr id="95" name="Picture 94" descr="A close-up of a vacuum&#10;&#10;AI-generated content may be incorrect.">
            <a:extLst>
              <a:ext uri="{FF2B5EF4-FFF2-40B4-BE49-F238E27FC236}">
                <a16:creationId xmlns:a16="http://schemas.microsoft.com/office/drawing/2014/main" id="{C7F5317C-2D1B-6432-794A-13BCD5273694}"/>
              </a:ext>
            </a:extLst>
          </p:cNvPr>
          <p:cNvPicPr>
            <a:picLocks noChangeAspect="1"/>
          </p:cNvPicPr>
          <p:nvPr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430145" y="4672382"/>
            <a:ext cx="1221856" cy="1521262"/>
          </a:xfrm>
          <a:prstGeom prst="rect">
            <a:avLst/>
          </a:prstGeom>
        </p:spPr>
      </p:pic>
      <p:sp>
        <p:nvSpPr>
          <p:cNvPr id="108" name="CasellaDiTesto 1">
            <a:extLst>
              <a:ext uri="{FF2B5EF4-FFF2-40B4-BE49-F238E27FC236}">
                <a16:creationId xmlns:a16="http://schemas.microsoft.com/office/drawing/2014/main" id="{638316B4-0CFD-FE54-332D-CD4541160001}"/>
              </a:ext>
            </a:extLst>
          </p:cNvPr>
          <p:cNvSpPr txBox="1"/>
          <p:nvPr/>
        </p:nvSpPr>
        <p:spPr>
          <a:xfrm>
            <a:off x="7269341" y="6052749"/>
            <a:ext cx="2927350" cy="232165"/>
          </a:xfrm>
          <a:prstGeom prst="rect">
            <a:avLst/>
          </a:prstGeom>
          <a:noFill/>
        </p:spPr>
        <p:txBody>
          <a:bodyPr wrap="square" lIns="144000" tIns="0" rIns="0" bIns="108000" rtlCol="0" anchor="b" anchorCtr="0">
            <a:spAutoFit/>
          </a:bodyPr>
          <a:lstStyle/>
          <a:p>
            <a:pPr algn="l" rtl="0"/>
            <a:r>
              <a:rPr lang="pt-pt" sz="800" b="0" i="0" u="none" baseline="0"/>
              <a:t>* Modelo não HazLoc/Atex mediante pedido </a:t>
            </a:r>
          </a:p>
        </p:txBody>
      </p:sp>
      <p:sp>
        <p:nvSpPr>
          <p:cNvPr id="112" name="TextBox 111">
            <a:extLst>
              <a:ext uri="{FF2B5EF4-FFF2-40B4-BE49-F238E27FC236}">
                <a16:creationId xmlns:a16="http://schemas.microsoft.com/office/drawing/2014/main" id="{7806DC8F-C0A8-9330-D930-F9F771E3F2E5}"/>
              </a:ext>
            </a:extLst>
          </p:cNvPr>
          <p:cNvSpPr txBox="1"/>
          <p:nvPr/>
        </p:nvSpPr>
        <p:spPr>
          <a:xfrm>
            <a:off x="7414175" y="4376308"/>
            <a:ext cx="1319272" cy="1480983"/>
          </a:xfrm>
          <a:prstGeom prst="rect">
            <a:avLst/>
          </a:prstGeom>
          <a:noFill/>
        </p:spPr>
        <p:txBody>
          <a:bodyPr vert="horz" wrap="square" lIns="0" tIns="0" rIns="0" bIns="0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28313F"/>
              </a:buClr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pt-pt" sz="16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*L4 = VHC01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28313F"/>
              </a:buClr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pt-pt" sz="11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L5 = VHC010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28313F"/>
              </a:buClr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pt-pt" sz="11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L6:</a:t>
            </a:r>
            <a:r>
              <a:rPr kumimoji="0" lang="pt-pt" sz="105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	• VHC010 CD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28313F"/>
              </a:buClr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pt-pt" sz="105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	• VHC010 CD SBS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28313F"/>
              </a:buClr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pt-pt" sz="11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L5 = VHC011 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28313F"/>
              </a:buClr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pt-pt" sz="11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L6:</a:t>
            </a:r>
            <a:r>
              <a:rPr kumimoji="0" lang="pt-pt" sz="105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	• VHC011 CD</a:t>
            </a:r>
          </a:p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0"/>
              </a:spcAft>
              <a:buClr>
                <a:srgbClr val="28313F"/>
              </a:buClr>
              <a:buSzTx/>
              <a:buFontTx/>
              <a:buNone/>
              <a:tabLst>
                <a:tab pos="266700" algn="l"/>
              </a:tabLst>
              <a:defRPr/>
            </a:pPr>
            <a:r>
              <a:rPr kumimoji="0" lang="pt-pt" sz="105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Light"/>
                <a:ea typeface="+mn-ea"/>
                <a:cs typeface="+mn-cs"/>
              </a:rPr>
              <a:t>	• VHC011 CD AU</a:t>
            </a:r>
            <a:endParaRPr kumimoji="0" lang="pt-pt" sz="1100" b="0" i="0" u="none" strike="noStrike" kern="1200" cap="none" spc="0" normalizeH="0" baseline="0" noProof="0">
              <a:ln>
                <a:noFill/>
              </a:ln>
              <a:solidFill>
                <a:srgbClr val="28313F"/>
              </a:solidFill>
              <a:effectLst/>
              <a:uLnTx/>
              <a:uFillTx/>
              <a:latin typeface="Roboto Light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47337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EC0C5CBC-208E-2152-B4AB-7F089162AF5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D6C7243-D2B5-74EC-A5CE-9B5DEB245446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3AA408DE-1574-D197-9F5D-96DA32FD4ADA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8</a:t>
            </a:fld>
            <a:endParaRPr lang="pt-pt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5F80E92D-01C0-72F5-983C-C50BCDC61E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Números de peça e versões disponíveis na data de lançamento</a:t>
            </a:r>
          </a:p>
        </p:txBody>
      </p:sp>
      <p:graphicFrame>
        <p:nvGraphicFramePr>
          <p:cNvPr id="8" name="Tabella 17">
            <a:extLst>
              <a:ext uri="{FF2B5EF4-FFF2-40B4-BE49-F238E27FC236}">
                <a16:creationId xmlns:a16="http://schemas.microsoft.com/office/drawing/2014/main" id="{48052BC2-3A89-888A-6066-38B34154A72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46015528"/>
              </p:ext>
            </p:extLst>
          </p:nvPr>
        </p:nvGraphicFramePr>
        <p:xfrm>
          <a:off x="479425" y="1472715"/>
          <a:ext cx="4500000" cy="3683285"/>
        </p:xfrm>
        <a:graphic>
          <a:graphicData uri="http://schemas.openxmlformats.org/drawingml/2006/table">
            <a:tbl>
              <a:tblPr firstRow="1" bandRow="1">
                <a:effectLst/>
                <a:tableStyleId>{2D5ABB26-0587-4C30-8999-92F81FD0307C}</a:tableStyleId>
              </a:tblPr>
              <a:tblGrid>
                <a:gridCol w="1260000">
                  <a:extLst>
                    <a:ext uri="{9D8B030D-6E8A-4147-A177-3AD203B41FA5}">
                      <a16:colId xmlns:a16="http://schemas.microsoft.com/office/drawing/2014/main" val="2264820808"/>
                    </a:ext>
                  </a:extLst>
                </a:gridCol>
                <a:gridCol w="2160000">
                  <a:extLst>
                    <a:ext uri="{9D8B030D-6E8A-4147-A177-3AD203B41FA5}">
                      <a16:colId xmlns:a16="http://schemas.microsoft.com/office/drawing/2014/main" val="1183238228"/>
                    </a:ext>
                  </a:extLst>
                </a:gridCol>
                <a:gridCol w="1080000">
                  <a:extLst>
                    <a:ext uri="{9D8B030D-6E8A-4147-A177-3AD203B41FA5}">
                      <a16:colId xmlns:a16="http://schemas.microsoft.com/office/drawing/2014/main" val="1171133363"/>
                    </a:ext>
                  </a:extLst>
                </a:gridCol>
              </a:tblGrid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Tipo de modelo </a:t>
                      </a:r>
                    </a:p>
                  </a:txBody>
                  <a:tcPr marL="54000" marR="54000" marT="72000" marB="72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/>
                          </a:solidFill>
                          <a:effectLst/>
                          <a:latin typeface="Roboto Bold" panose="02000000000000000000" pitchFamily="2" charset="0"/>
                          <a:ea typeface="+mn-ea"/>
                          <a:cs typeface="+mn-cs"/>
                          <a:sym typeface=""/>
                        </a:rPr>
                        <a:t>PN</a:t>
                      </a:r>
                    </a:p>
                  </a:txBody>
                  <a:tcPr marL="54000" marR="54000" marT="72000" marB="72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endParaRPr lang="pt-pt" sz="900" b="0" i="0" u="none" strike="noStrike" kern="1200" cap="none" spc="0" normalizeH="0" baseline="0">
                        <a:solidFill>
                          <a:schemeClr val="tx1"/>
                        </a:solidFill>
                        <a:effectLst/>
                        <a:latin typeface="Roboto Bold" panose="02000000000000000000" pitchFamily="2" charset="0"/>
                        <a:ea typeface="+mn-ea"/>
                        <a:cs typeface="+mn-cs"/>
                        <a:sym typeface=""/>
                      </a:endParaRPr>
                    </a:p>
                  </a:txBody>
                  <a:tcPr marL="54000" marR="54000" marT="72000" marB="72000" anchor="ctr">
                    <a:lnB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47453201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5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2"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Global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tx1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00984838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5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1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pt-pt" sz="1000"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659864924"/>
                  </a:ext>
                </a:extLst>
              </a:tr>
              <a:tr h="309365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42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0 Z1 EXA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6"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UE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86616923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43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0 Z1 EXA SB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pt-pt" sz="1000"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606683507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44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0 Z1 EXA 2X SB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pt-pt" sz="1000"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55384594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45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1 Z1 EXA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pt-pt" sz="1000"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59435525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46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1 Z1 EXA AU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pt-pt" sz="1000"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237392671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47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1 Z1 EXA 3X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pt-pt" sz="1000"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1630925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48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0 EXP SB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rowSpan="4">
                  <a:txBody>
                    <a:bodyPr/>
                    <a:lstStyle/>
                    <a:p>
                      <a:pPr marL="0" marR="0" lvl="0" indent="0" algn="ctr" defTabSz="1023967" rtl="0" eaLnBrk="1" fontAlgn="auto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latin typeface="Roboto Light" panose="02000000000000000000" pitchFamily="2" charset="0"/>
                          <a:ea typeface="+mn-ea"/>
                          <a:cs typeface="+mn-cs"/>
                          <a:sym typeface=""/>
                        </a:rPr>
                        <a:t>EUA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65067669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49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0 EXP 2X SBS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pt-pt" sz="1000"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64969452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50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1 EXP AU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pt-pt" sz="1000"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73475686"/>
                  </a:ext>
                </a:extLst>
              </a:tr>
              <a:tr h="182880"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4061300051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9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023967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FontTx/>
                        <a:buNone/>
                      </a:pPr>
                      <a:r>
                        <a:rPr lang="pt-pt" sz="900" b="0" i="0" u="none" strike="noStrike" kern="1200" cap="none" spc="0" normalizeH="0" baseline="0">
                          <a:solidFill>
                            <a:schemeClr val="tx1">
                              <a:lumMod val="100000"/>
                            </a:schemeClr>
                          </a:solidFill>
                          <a:effectLst/>
                          <a:latin typeface="Roboto Light" panose="02000000000000000000" pitchFamily="2" charset="0"/>
                          <a:ea typeface="+mn-ea"/>
                          <a:cs typeface="+mn-cs"/>
                        </a:rPr>
                        <a:t>VHC011 EXP AU 3X</a:t>
                      </a:r>
                    </a:p>
                  </a:txBody>
                  <a:tcPr marL="54000" marR="54000" marT="72000" marB="72000" anchor="ctr"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vMerge="1">
                  <a:txBody>
                    <a:bodyPr/>
                    <a:lstStyle/>
                    <a:p>
                      <a:endParaRPr lang="pt-pt" sz="1000">
                        <a:latin typeface="+mn-lt"/>
                      </a:endParaRPr>
                    </a:p>
                  </a:txBody>
                  <a:tcPr>
                    <a:lnT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>
                          <a:lumMod val="10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69757186"/>
                  </a:ext>
                </a:extLst>
              </a:tr>
            </a:tbl>
          </a:graphicData>
        </a:graphic>
      </p:graphicFrame>
      <p:grpSp>
        <p:nvGrpSpPr>
          <p:cNvPr id="9" name="Group 8">
            <a:extLst>
              <a:ext uri="{FF2B5EF4-FFF2-40B4-BE49-F238E27FC236}">
                <a16:creationId xmlns:a16="http://schemas.microsoft.com/office/drawing/2014/main" id="{41BEC332-249C-6EF6-97BB-041970EA01F8}"/>
              </a:ext>
            </a:extLst>
          </p:cNvPr>
          <p:cNvGrpSpPr/>
          <p:nvPr/>
        </p:nvGrpSpPr>
        <p:grpSpPr>
          <a:xfrm>
            <a:off x="6405355" y="1848871"/>
            <a:ext cx="5520162" cy="4294257"/>
            <a:chOff x="749596" y="3635098"/>
            <a:chExt cx="4077701" cy="3172134"/>
          </a:xfrm>
        </p:grpSpPr>
        <p:pic>
          <p:nvPicPr>
            <p:cNvPr id="10" name="Picture 9" descr="A close-up of a vacuum&#10;&#10;AI-generated content may be incorrect.">
              <a:extLst>
                <a:ext uri="{FF2B5EF4-FFF2-40B4-BE49-F238E27FC236}">
                  <a16:creationId xmlns:a16="http://schemas.microsoft.com/office/drawing/2014/main" id="{D33410D7-609A-9453-93CD-FBA59CE9E758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49596" y="3635098"/>
              <a:ext cx="2306686" cy="3070805"/>
            </a:xfrm>
            <a:prstGeom prst="rect">
              <a:avLst/>
            </a:prstGeom>
          </p:spPr>
        </p:pic>
        <p:pic>
          <p:nvPicPr>
            <p:cNvPr id="11" name="Picture 10" descr="A close-up of a vacuum&#10;&#10;AI-generated content may be incorrect.">
              <a:extLst>
                <a:ext uri="{FF2B5EF4-FFF2-40B4-BE49-F238E27FC236}">
                  <a16:creationId xmlns:a16="http://schemas.microsoft.com/office/drawing/2014/main" id="{D44D1A18-42F9-D6A1-F017-A6D54D8549D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93793" y="3652912"/>
              <a:ext cx="2533504" cy="31543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709390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E5BB37-448D-B1FA-6ED3-6FDB61B0113B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881ACCC7-2451-7549-D107-95DCD8974AB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pt-pt" dirty="0"/>
              <a:t>7</a:t>
            </a:r>
            <a:endParaRPr lang="pt-pt" b="1" i="0" u="none" baseline="0" dirty="0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B958A74B-0961-1BBC-CE11-C2C0F1CC6CB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Responsabilidade corporativa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FB1837EF-48D7-2EAA-1F11-130B530AE6C4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7804E5E2-5BD8-C198-7CE2-163C3960373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29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683466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D234C464-C9E6-18E2-DAC8-DD95E766F83D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1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ABAD22E9-997D-AA79-99CE-DCD6303A109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79425" y="1905581"/>
            <a:ext cx="6135020" cy="3355393"/>
          </a:xfrm>
        </p:spPr>
        <p:txBody>
          <a:bodyPr/>
          <a:lstStyle/>
          <a:p>
            <a:pPr algn="l" rtl="0"/>
            <a:r>
              <a:rPr lang="pt-pt" b="0" i="0" u="none" baseline="0"/>
              <a:t>Layouts de ar comprimido do Mini IVS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5A9487AA-EECB-0021-6629-0052922F4A6B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D64A9892-B617-8686-11C2-61F847F28E9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3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6485854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Placeholder 11" descr="Hands holding a small plant&#10;&#10;AI-generated content may be incorrect.">
            <a:extLst>
              <a:ext uri="{FF2B5EF4-FFF2-40B4-BE49-F238E27FC236}">
                <a16:creationId xmlns:a16="http://schemas.microsoft.com/office/drawing/2014/main" id="{488AD233-68AC-9BE7-B396-538108B247A9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/>
      </p:pic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AFCFC741-534D-8A80-6D8F-C1E1842159E4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0094F31-2A8B-B4BB-B5F4-6410C88BFD06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 algn="l" rtl="0"/>
              <a:t>30</a:t>
            </a:fld>
            <a:endParaRPr lang="pt-pt"/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B0442FF7-5184-8D84-2485-0CAF9544CF7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Responsabilidade corporativa</a:t>
            </a:r>
          </a:p>
        </p:txBody>
      </p:sp>
      <p:sp>
        <p:nvSpPr>
          <p:cNvPr id="13" name="Content Placeholder 1">
            <a:extLst>
              <a:ext uri="{FF2B5EF4-FFF2-40B4-BE49-F238E27FC236}">
                <a16:creationId xmlns:a16="http://schemas.microsoft.com/office/drawing/2014/main" id="{C15E9166-DC35-1561-065A-68DAAAC26045}"/>
              </a:ext>
            </a:extLst>
          </p:cNvPr>
          <p:cNvSpPr txBox="1">
            <a:spLocks/>
          </p:cNvSpPr>
          <p:nvPr/>
        </p:nvSpPr>
        <p:spPr>
          <a:xfrm>
            <a:off x="1225732" y="2555031"/>
            <a:ext cx="4021328" cy="272895"/>
          </a:xfrm>
          <a:prstGeom prst="rect">
            <a:avLst/>
          </a:prstGeom>
        </p:spPr>
        <p:txBody>
          <a:bodyPr vert="horz" lIns="365760" tIns="0" rIns="0" bIns="0" rtlCol="0" anchor="ctr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pt-pt" sz="1600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Sem emissões durante a produção</a:t>
            </a:r>
          </a:p>
        </p:txBody>
      </p:sp>
      <p:sp>
        <p:nvSpPr>
          <p:cNvPr id="14" name="Content Placeholder 1">
            <a:extLst>
              <a:ext uri="{FF2B5EF4-FFF2-40B4-BE49-F238E27FC236}">
                <a16:creationId xmlns:a16="http://schemas.microsoft.com/office/drawing/2014/main" id="{6CFF1A94-7CBA-B2E8-58BC-65BAD2AD80E4}"/>
              </a:ext>
            </a:extLst>
          </p:cNvPr>
          <p:cNvSpPr txBox="1">
            <a:spLocks/>
          </p:cNvSpPr>
          <p:nvPr/>
        </p:nvSpPr>
        <p:spPr>
          <a:xfrm>
            <a:off x="1225732" y="3586049"/>
            <a:ext cx="3559175" cy="797270"/>
          </a:xfrm>
          <a:prstGeom prst="rect">
            <a:avLst/>
          </a:prstGeom>
        </p:spPr>
        <p:txBody>
          <a:bodyPr vert="horz" wrap="square" lIns="365760" tIns="0" rIns="0" bIns="0" rtlCol="0" anchor="ctr" anchorCtr="0">
            <a:spAutoFit/>
          </a:bodyPr>
          <a:lstStyle>
            <a:lvl1pPr marL="199105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lnSpc>
                <a:spcPct val="120000"/>
              </a:lnSpc>
              <a:buNone/>
            </a:pPr>
            <a:r>
              <a:rPr lang="pt-pt" sz="1600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Metal e peças recicláveis</a:t>
            </a:r>
          </a:p>
          <a:p>
            <a:pPr marL="0" indent="0" algn="l" rt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pt-pt" sz="1300" b="0" i="0" u="none" baseline="0"/>
              <a:t>Todas as peças (exceto os filtros) </a:t>
            </a:r>
            <a:br>
              <a:rPr lang="pt-pt" sz="1300" b="0" i="0" u="none" baseline="0"/>
            </a:br>
            <a:r>
              <a:rPr lang="pt-pt" sz="1300" b="0" i="0" u="none" baseline="0"/>
              <a:t>são feitas de materiais recicláveis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8E13A95A-10E6-688A-20E0-AABF3F3FD74F}"/>
              </a:ext>
            </a:extLst>
          </p:cNvPr>
          <p:cNvGrpSpPr>
            <a:grpSpLocks noChangeAspect="1"/>
          </p:cNvGrpSpPr>
          <p:nvPr/>
        </p:nvGrpSpPr>
        <p:grpSpPr>
          <a:xfrm>
            <a:off x="479424" y="2392783"/>
            <a:ext cx="731520" cy="731520"/>
            <a:chOff x="1307428" y="3800135"/>
            <a:chExt cx="597389" cy="597389"/>
          </a:xfrm>
        </p:grpSpPr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C548C474-CA6A-719D-5CE9-496C961D090E}"/>
                </a:ext>
              </a:extLst>
            </p:cNvPr>
            <p:cNvSpPr/>
            <p:nvPr/>
          </p:nvSpPr>
          <p:spPr>
            <a:xfrm>
              <a:off x="1307428" y="3800135"/>
              <a:ext cx="597389" cy="597389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pt-pt" sz="2000">
                <a:solidFill>
                  <a:schemeClr val="tx1"/>
                </a:solidFill>
              </a:endParaRPr>
            </a:p>
          </p:txBody>
        </p:sp>
        <p:pic>
          <p:nvPicPr>
            <p:cNvPr id="17" name="Graphic 16">
              <a:extLst>
                <a:ext uri="{FF2B5EF4-FFF2-40B4-BE49-F238E27FC236}">
                  <a16:creationId xmlns:a16="http://schemas.microsoft.com/office/drawing/2014/main" id="{52E039ED-DF97-55A4-DB48-5A037ABE0B3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p:blipFill>
          <p:spPr>
            <a:xfrm>
              <a:off x="1452262" y="3897846"/>
              <a:ext cx="307720" cy="314876"/>
            </a:xfrm>
            <a:prstGeom prst="rect">
              <a:avLst/>
            </a:prstGeom>
          </p:spPr>
        </p:pic>
      </p:grpSp>
      <p:grpSp>
        <p:nvGrpSpPr>
          <p:cNvPr id="18" name="Group 17">
            <a:extLst>
              <a:ext uri="{FF2B5EF4-FFF2-40B4-BE49-F238E27FC236}">
                <a16:creationId xmlns:a16="http://schemas.microsoft.com/office/drawing/2014/main" id="{DA155A1C-CB24-2882-5A10-4FABA9164D2E}"/>
              </a:ext>
            </a:extLst>
          </p:cNvPr>
          <p:cNvGrpSpPr>
            <a:grpSpLocks noChangeAspect="1"/>
          </p:cNvGrpSpPr>
          <p:nvPr/>
        </p:nvGrpSpPr>
        <p:grpSpPr>
          <a:xfrm>
            <a:off x="479424" y="3618924"/>
            <a:ext cx="731520" cy="731520"/>
            <a:chOff x="6229102" y="5474414"/>
            <a:chExt cx="597389" cy="597389"/>
          </a:xfrm>
        </p:grpSpPr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2F64544A-B3FD-4E13-F7DD-794D871090EB}"/>
                </a:ext>
              </a:extLst>
            </p:cNvPr>
            <p:cNvSpPr/>
            <p:nvPr/>
          </p:nvSpPr>
          <p:spPr>
            <a:xfrm>
              <a:off x="6229102" y="5474414"/>
              <a:ext cx="597389" cy="597389"/>
            </a:xfrm>
            <a:prstGeom prst="ellipse">
              <a:avLst/>
            </a:prstGeom>
            <a:solidFill>
              <a:schemeClr val="accent3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pt-pt" sz="2000">
                <a:solidFill>
                  <a:schemeClr val="tx1"/>
                </a:solidFill>
              </a:endParaRPr>
            </a:p>
          </p:txBody>
        </p:sp>
        <p:pic>
          <p:nvPicPr>
            <p:cNvPr id="20" name="Graphic 19">
              <a:extLst>
                <a:ext uri="{FF2B5EF4-FFF2-40B4-BE49-F238E27FC236}">
                  <a16:creationId xmlns:a16="http://schemas.microsoft.com/office/drawing/2014/main" id="{39BA51A1-D439-FE94-2D27-716CCFE13615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email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p:blipFill>
          <p:spPr>
            <a:xfrm>
              <a:off x="6378165" y="5623477"/>
              <a:ext cx="299262" cy="299262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235917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49464F2-C050-9C71-CD1D-5F507456CBE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5212715" cy="4870450"/>
          </a:xfrm>
        </p:spPr>
        <p:txBody>
          <a:bodyPr/>
          <a:lstStyle/>
          <a:p>
            <a:pPr marL="0" indent="0" algn="l" rtl="0">
              <a:buNone/>
            </a:pPr>
            <a:endParaRPr lang="pt-pt">
              <a:latin typeface="+mj-lt"/>
            </a:endParaRPr>
          </a:p>
          <a:p>
            <a:pPr marL="0" indent="0" algn="l" rtl="0">
              <a:buNone/>
            </a:pPr>
            <a:r>
              <a:rPr lang="pt-pt" sz="1500" b="0" i="0" u="none" baseline="0">
                <a:latin typeface="+mj-lt"/>
                <a:ea typeface="+mj-lt"/>
                <a:cs typeface="+mj-lt"/>
              </a:rPr>
              <a:t>Aspirador industrial acionado por ar comprimido </a:t>
            </a:r>
          </a:p>
          <a:p>
            <a:pPr marL="0" indent="0" algn="l" rtl="0">
              <a:buNone/>
            </a:pPr>
            <a:r>
              <a:rPr lang="pt-pt" b="0" i="0" u="none" baseline="0"/>
              <a:t>Um aspirador industrial alimentado por ar comprimido é um dispositivo utilizado para a limpeza e manutenção em ambientes industriais. Funciona utilizando um fluxo de ar de alta velocidade, gerado através de um compressor de ar, para criar uma aspiração potente que recolhe poeiras, detritos, líquidos e outros materiais. </a:t>
            </a:r>
          </a:p>
          <a:p>
            <a:pPr marL="0" indent="0" algn="l" rtl="0">
              <a:buNone/>
            </a:pPr>
            <a:endParaRPr lang="pt-pt"/>
          </a:p>
          <a:p>
            <a:pPr marL="0" indent="0" algn="l" rtl="0">
              <a:buNone/>
            </a:pPr>
            <a:r>
              <a:rPr lang="pt-pt" sz="1500" b="0" i="0" u="none" baseline="0">
                <a:latin typeface="+mj-lt"/>
                <a:ea typeface="+mj-lt"/>
                <a:cs typeface="+mj-lt"/>
              </a:rPr>
              <a:t>Principais aplicações</a:t>
            </a:r>
          </a:p>
          <a:p>
            <a:pPr marL="0" indent="0" algn="l" rtl="0">
              <a:buNone/>
            </a:pPr>
            <a:r>
              <a:rPr lang="pt-pt" b="0" i="0" u="none" baseline="0"/>
              <a:t>O ar comprimido é frequentemente preferido em ambientes onde </a:t>
            </a:r>
            <a:br>
              <a:rPr lang="pt-pt" b="0" i="0" u="none" baseline="0"/>
            </a:br>
            <a:r>
              <a:rPr lang="pt-pt" b="0" i="0" u="none" baseline="0"/>
              <a:t>a eletricidade pode representar um risco, ou onde é necessário manusear materiais inflamáveis ou combustíveis, uma vez que </a:t>
            </a:r>
            <a:br>
              <a:rPr lang="pt-pt" b="0" i="0" u="none" baseline="0"/>
            </a:br>
            <a:r>
              <a:rPr lang="pt-pt" b="0" i="0" u="none" baseline="0"/>
              <a:t>a utilização de ar comprimido elimina o risco de faíscas elétricas. São utilizados numa variedade de setores da indústria, incluindo eletrónica, farmacêutica, fabrico de aditivos e indústria química, para manter os locais de trabalho limpos e melhorar a segurança </a:t>
            </a:r>
            <a:br>
              <a:rPr lang="pt-pt" b="0" i="0" u="none" baseline="0"/>
            </a:br>
            <a:r>
              <a:rPr lang="pt-pt" b="0" i="0" u="none" baseline="0"/>
              <a:t>e a eficiência operacionais.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BA2F44CC-3785-63A5-1C80-CD709FCF90DD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EFA67D6D-9A65-E2E1-5C39-0AF23BB34EFF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4</a:t>
            </a:fld>
            <a:endParaRPr lang="pt-pt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61067AA-C744-31EA-EE1F-DA4D6DBEEF6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Aspirador industrial a ar comprimido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41322E25-03F0-82EA-A9F9-BD9B402D485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VHC010 / VHC011 Z1</a:t>
            </a:r>
          </a:p>
        </p:txBody>
      </p:sp>
      <p:pic>
        <p:nvPicPr>
          <p:cNvPr id="10" name="Immagine 7">
            <a:extLst>
              <a:ext uri="{FF2B5EF4-FFF2-40B4-BE49-F238E27FC236}">
                <a16:creationId xmlns:a16="http://schemas.microsoft.com/office/drawing/2014/main" id="{841782E6-4C85-0A51-9668-6AE6CD7E8BB5}"/>
              </a:ext>
            </a:extLst>
          </p:cNvPr>
          <p:cNvPicPr>
            <a:picLocks noGrp="1" noChangeAspect="1"/>
          </p:cNvPicPr>
          <p:nvPr>
            <p:ph type="pic" sz="quarter" idx="17"/>
          </p:nvPr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>
          <a:xfrm>
            <a:off x="6205538" y="0"/>
            <a:ext cx="5986462" cy="628491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08363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B5FF4DD-F947-FDE1-2AAE-35BE023F9CC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79425" y="1412875"/>
            <a:ext cx="4689475" cy="4485005"/>
          </a:xfrm>
        </p:spPr>
        <p:txBody>
          <a:bodyPr anchor="ctr"/>
          <a:lstStyle/>
          <a:p>
            <a:pPr marL="0" indent="0" algn="l" rtl="0">
              <a:lnSpc>
                <a:spcPct val="120000"/>
              </a:lnSpc>
              <a:spcBef>
                <a:spcPts val="0"/>
              </a:spcBef>
              <a:buNone/>
            </a:pPr>
            <a:r>
              <a:rPr lang="pt-pt" sz="1600" b="0" i="0" u="none" baseline="0"/>
              <a:t>O Nilfisk VHC010-011 ajuda os fabricantes a </a:t>
            </a:r>
            <a:r>
              <a:rPr lang="pt-pt" sz="16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proteger os seus trabalhadores, eliminar os riscos de segurança </a:t>
            </a:r>
            <a:r>
              <a:rPr lang="pt-pt" sz="1600" b="0" i="0" u="none" baseline="0"/>
              <a:t>e </a:t>
            </a:r>
            <a:r>
              <a:rPr lang="pt-pt" sz="16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aumentar </a:t>
            </a:r>
            <a:r>
              <a:rPr lang="pt-pt" sz="1600" b="0" i="0" u="none" baseline="0"/>
              <a:t>a eficiência, fornecendo </a:t>
            </a:r>
            <a:r>
              <a:rPr lang="pt-pt" sz="16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uma gama</a:t>
            </a:r>
            <a:r>
              <a:rPr lang="pt-pt" sz="1600" b="0" i="0" u="none" baseline="0"/>
              <a:t> versátil de </a:t>
            </a:r>
            <a:r>
              <a:rPr lang="pt-pt" sz="16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aspiradores industriais compactos, acessíveis</a:t>
            </a:r>
            <a:r>
              <a:rPr lang="pt-pt" sz="1600" b="0" i="0" u="none" baseline="0"/>
              <a:t> e de alto desempenho.</a:t>
            </a:r>
            <a:endParaRPr lang="pt-pt" sz="1600" b="1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CBAB2E8C-F52B-E730-F08D-E9F4DA2C1C03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10D01A05-1769-4AE3-BE96-0C08C50618CE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5</a:t>
            </a:fld>
            <a:endParaRPr lang="pt-pt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6C374DF-E4A3-A32E-22F8-8363A31F0BD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Proposta de valor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A65574C5-0623-CDCF-60E6-01F8F352F8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Mini IV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C4DDAE22-B0F1-569F-F014-6D9A7D4452AF}"/>
              </a:ext>
            </a:extLst>
          </p:cNvPr>
          <p:cNvSpPr/>
          <p:nvPr/>
        </p:nvSpPr>
        <p:spPr>
          <a:xfrm>
            <a:off x="6205538" y="0"/>
            <a:ext cx="5986462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sz="200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13E027A-B12A-3FAA-BDD7-3A990681670D}"/>
              </a:ext>
            </a:extLst>
          </p:cNvPr>
          <p:cNvSpPr txBox="1"/>
          <p:nvPr/>
        </p:nvSpPr>
        <p:spPr>
          <a:xfrm>
            <a:off x="6205538" y="1131713"/>
            <a:ext cx="5507037" cy="5142086"/>
          </a:xfrm>
          <a:prstGeom prst="rect">
            <a:avLst/>
          </a:prstGeom>
          <a:noFill/>
        </p:spPr>
        <p:txBody>
          <a:bodyPr wrap="square" lIns="360000" tIns="0" rIns="0" bIns="720000" anchor="b">
            <a:spAutoFit/>
          </a:bodyPr>
          <a:lstStyle/>
          <a:p>
            <a:pPr marL="0" algn="l" rt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pt-pt" sz="1600" b="0" i="0" u="none" spc="20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Proteger os trabalhadores e eliminar os riscos </a:t>
            </a:r>
            <a:br>
              <a:rPr lang="pt-pt" sz="1600" b="0" i="0" u="none" spc="20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</a:br>
            <a:r>
              <a:rPr lang="pt-pt" sz="1600" b="0" i="0" u="none" spc="20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de segurança</a:t>
            </a:r>
            <a:endParaRPr lang="pt-pt" sz="1600" u="sng" spc="20">
              <a:solidFill>
                <a:schemeClr val="accent3"/>
              </a:solidFill>
              <a:latin typeface="+mj-lt"/>
            </a:endParaRPr>
          </a:p>
          <a:p>
            <a:pPr algn="l" rtl="0">
              <a:lnSpc>
                <a:spcPct val="120000"/>
              </a:lnSpc>
            </a:pPr>
            <a:r>
              <a:rPr lang="pt-pt" sz="1200" b="0" i="0" u="none" baseline="0"/>
              <a:t>Dar prioridade à segurança no local de trabalho e à saúde dos trabalhadores.</a:t>
            </a:r>
          </a:p>
          <a:p>
            <a:pPr algn="l" rtl="0">
              <a:lnSpc>
                <a:spcPct val="120000"/>
              </a:lnSpc>
            </a:pPr>
            <a:endParaRPr lang="pt-pt" sz="1200"/>
          </a:p>
          <a:p>
            <a:pPr algn="l" rtl="0">
              <a:lnSpc>
                <a:spcPct val="120000"/>
              </a:lnSpc>
            </a:pPr>
            <a:r>
              <a:rPr lang="pt-pt" sz="1600" b="0" i="0" u="none" spc="20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Maior eficiência</a:t>
            </a:r>
          </a:p>
          <a:p>
            <a:pPr algn="l" rtl="0">
              <a:lnSpc>
                <a:spcPct val="120000"/>
              </a:lnSpc>
            </a:pPr>
            <a:r>
              <a:rPr lang="pt-pt" sz="1200" b="0" i="0" u="none" baseline="0"/>
              <a:t>Foco no principal valor que oferecemos aos nossos clientes.</a:t>
            </a:r>
          </a:p>
          <a:p>
            <a:pPr algn="l" rtl="0">
              <a:lnSpc>
                <a:spcPct val="120000"/>
              </a:lnSpc>
            </a:pPr>
            <a:endParaRPr lang="pt-pt" sz="1200"/>
          </a:p>
          <a:p>
            <a:pPr algn="l" rtl="0">
              <a:lnSpc>
                <a:spcPct val="120000"/>
              </a:lnSpc>
            </a:pPr>
            <a:r>
              <a:rPr lang="pt-pt" sz="1600" b="0" i="0" u="none" spc="20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Versátil</a:t>
            </a:r>
          </a:p>
          <a:p>
            <a:pPr algn="l" rtl="0">
              <a:lnSpc>
                <a:spcPct val="120000"/>
              </a:lnSpc>
            </a:pPr>
            <a:r>
              <a:rPr lang="pt-pt" sz="1200" b="0" i="0" u="none" baseline="0"/>
              <a:t>O tamanho pequeno e os 4 modelos distintos foram concebidos </a:t>
            </a:r>
            <a:br>
              <a:rPr lang="pt-pt" sz="1200" b="0" i="0" u="none" baseline="0"/>
            </a:br>
            <a:r>
              <a:rPr lang="pt-pt" sz="1200" b="0" i="0" u="none" baseline="0"/>
              <a:t>para satisfazer as necessidades dos nossos clientes.</a:t>
            </a:r>
          </a:p>
          <a:p>
            <a:pPr algn="l" rtl="0">
              <a:lnSpc>
                <a:spcPct val="120000"/>
              </a:lnSpc>
            </a:pPr>
            <a:endParaRPr lang="pt-pt" sz="1200"/>
          </a:p>
          <a:p>
            <a:pPr algn="l" rtl="0">
              <a:lnSpc>
                <a:spcPct val="120000"/>
              </a:lnSpc>
            </a:pPr>
            <a:r>
              <a:rPr lang="pt-pt" sz="1600" b="0" i="0" u="none" spc="20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Económico</a:t>
            </a:r>
          </a:p>
          <a:p>
            <a:pPr algn="l" rtl="0">
              <a:lnSpc>
                <a:spcPct val="120000"/>
              </a:lnSpc>
            </a:pPr>
            <a:r>
              <a:rPr lang="pt-pt" sz="1200" b="0" i="0" u="none" baseline="0"/>
              <a:t>Excelente valor pelo investimento, longa vida útil mesmo em ambientes </a:t>
            </a:r>
            <a:br>
              <a:rPr lang="pt-pt" sz="1200" b="0" i="0" u="none" baseline="0"/>
            </a:br>
            <a:r>
              <a:rPr lang="pt-pt" sz="1200" b="0" i="0" u="none" baseline="0"/>
              <a:t>de produção difíceis.</a:t>
            </a:r>
          </a:p>
          <a:p>
            <a:pPr algn="l" rtl="0">
              <a:lnSpc>
                <a:spcPct val="120000"/>
              </a:lnSpc>
            </a:pPr>
            <a:endParaRPr lang="pt-pt" sz="1200"/>
          </a:p>
          <a:p>
            <a:pPr algn="l" rtl="0">
              <a:lnSpc>
                <a:spcPct val="120000"/>
              </a:lnSpc>
            </a:pPr>
            <a:r>
              <a:rPr lang="pt-pt" sz="1600" b="0" i="0" u="none" spc="20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Elevado desempenho e tamanho compacto</a:t>
            </a:r>
          </a:p>
          <a:p>
            <a:pPr algn="l" rtl="0">
              <a:lnSpc>
                <a:spcPct val="120000"/>
              </a:lnSpc>
            </a:pPr>
            <a:r>
              <a:rPr lang="pt-pt" sz="1200" b="0" i="0" u="none" baseline="0"/>
              <a:t>Sublinhando a combinação entre ser muito pequeno, mas fornecer </a:t>
            </a:r>
            <a:br>
              <a:rPr lang="pt-pt" sz="1200" b="0" i="0" u="none" baseline="0"/>
            </a:br>
            <a:r>
              <a:rPr lang="pt-pt" sz="1200" b="0" i="0" u="none" baseline="0"/>
              <a:t>o alto desempenho necessário em ambientes industriais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A1D07522-4503-86C4-B2C7-D9FB9EB3877A}"/>
              </a:ext>
            </a:extLst>
          </p:cNvPr>
          <p:cNvSpPr txBox="1"/>
          <p:nvPr/>
        </p:nvSpPr>
        <p:spPr>
          <a:xfrm>
            <a:off x="9260378" y="494490"/>
            <a:ext cx="2447434" cy="204671"/>
          </a:xfrm>
          <a:prstGeom prst="rect">
            <a:avLst/>
          </a:prstGeom>
          <a:noFill/>
        </p:spPr>
        <p:txBody>
          <a:bodyPr wrap="square" lIns="0" tIns="0" rIns="0" bIns="0" anchor="b">
            <a:spAutoFit/>
          </a:bodyPr>
          <a:lstStyle/>
          <a:p>
            <a:pPr algn="r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da-DK" sz="1200" i="1">
                <a:solidFill>
                  <a:schemeClr val="tx2"/>
                </a:solidFill>
                <a:ea typeface="Roboto Black" panose="02000000000000000000" pitchFamily="2" charset="0"/>
                <a:cs typeface="Poppins SemiBold" panose="00000700000000000000" pitchFamily="2" charset="0"/>
              </a:rPr>
              <a:t>Para uso interno</a:t>
            </a:r>
            <a:endParaRPr lang="da-DK" sz="1200" i="1" dirty="0">
              <a:solidFill>
                <a:schemeClr val="tx2"/>
              </a:solidFill>
              <a:ea typeface="Roboto Black" panose="02000000000000000000" pitchFamily="2" charset="0"/>
              <a:cs typeface="Poppins SemiBold" panose="00000700000000000000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20706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08873A5-591D-342C-49AB-1235C719E1E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DCBDDB19-7834-F60F-5482-09E88A7C1F60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35BCFF9-E0DD-708A-8EF3-1A28BACA9B6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6</a:t>
            </a:fld>
            <a:endParaRPr lang="pt-pt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366E2651-D872-1BBD-6F82-56A8A4FE328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Apresentação da gama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93FD48B3-F8EC-D273-863F-3D5AEBDA73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Mini IVS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336A2A1C-B11E-1312-8BC0-26E258491286}"/>
              </a:ext>
            </a:extLst>
          </p:cNvPr>
          <p:cNvSpPr/>
          <p:nvPr/>
        </p:nvSpPr>
        <p:spPr>
          <a:xfrm>
            <a:off x="6205538" y="0"/>
            <a:ext cx="5986462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sz="2000">
              <a:solidFill>
                <a:schemeClr val="tx1"/>
              </a:solidFill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2DE5F28-3E35-2B2B-6769-75AAC5FCE894}"/>
              </a:ext>
            </a:extLst>
          </p:cNvPr>
          <p:cNvSpPr txBox="1"/>
          <p:nvPr/>
        </p:nvSpPr>
        <p:spPr>
          <a:xfrm>
            <a:off x="6205538" y="910114"/>
            <a:ext cx="5507037" cy="5363685"/>
          </a:xfrm>
          <a:prstGeom prst="rect">
            <a:avLst/>
          </a:prstGeom>
          <a:noFill/>
        </p:spPr>
        <p:txBody>
          <a:bodyPr wrap="square" lIns="360000" tIns="0" rIns="0" bIns="720000" anchor="b">
            <a:spAutoFit/>
          </a:bodyPr>
          <a:lstStyle/>
          <a:p>
            <a:pPr marL="0" algn="l" rt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pt-pt" sz="12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Apresentação</a:t>
            </a:r>
          </a:p>
          <a:p>
            <a:pPr marL="0" algn="l" rt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pt-BR" sz="1200" b="0" i="0" u="none" baseline="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O </a:t>
            </a:r>
            <a:r>
              <a:rPr lang="pt-BR" sz="1200" b="0" i="0" u="none" baseline="0" dirty="0" err="1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Mini-IVS</a:t>
            </a:r>
            <a:r>
              <a:rPr lang="pt-BR" sz="1200" b="0" i="0" u="none" baseline="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 é uma gama de aspiradores industriais compactos, desenvolvida como alternativa eficiente às máquinas de maior dimensão da plataforma de 400 mm, como os modelos VHC110 e VHC120, todos acionados por ar comprimido.</a:t>
            </a:r>
          </a:p>
          <a:p>
            <a:pPr marL="0" algn="l" rtl="0">
              <a:lnSpc>
                <a:spcPct val="120000"/>
              </a:lnSpc>
              <a:buFont typeface="Arial" panose="020B0604020202020204" pitchFamily="34" charset="0"/>
              <a:buNone/>
            </a:pPr>
            <a:endParaRPr lang="pt-pt" sz="1200" dirty="0">
              <a:latin typeface="Roboto Light" panose="02000000000000000000" pitchFamily="2" charset="0"/>
            </a:endParaRPr>
          </a:p>
          <a:p>
            <a:pPr marL="0" algn="l" rt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pt-BR" sz="1200" b="0" i="0" u="none" baseline="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Foi especificamente concebido para a recolha a seco de pós finos, poeiras combustíveis, condutoras e perigosas, oferecendo uma solução segura e eficaz para ambientes industriais com restrições de espaço e elevadas exigências de segurança.</a:t>
            </a:r>
          </a:p>
          <a:p>
            <a:pPr marL="0" algn="l" rtl="0">
              <a:lnSpc>
                <a:spcPct val="120000"/>
              </a:lnSpc>
              <a:buFont typeface="Arial" panose="020B0604020202020204" pitchFamily="34" charset="0"/>
              <a:buNone/>
            </a:pPr>
            <a:endParaRPr lang="pt-pt" sz="1200" dirty="0">
              <a:latin typeface="Roboto Light" panose="02000000000000000000" pitchFamily="2" charset="0"/>
            </a:endParaRPr>
          </a:p>
          <a:p>
            <a:pPr marL="0" algn="l" rtl="0">
              <a:lnSpc>
                <a:spcPct val="120000"/>
              </a:lnSpc>
              <a:buFont typeface="Arial" panose="020B0604020202020204" pitchFamily="34" charset="0"/>
              <a:buNone/>
            </a:pPr>
            <a:r>
              <a:rPr lang="pt-pt" sz="12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Funcionalidade chave da gama:</a:t>
            </a:r>
          </a:p>
          <a:p>
            <a:pPr marL="177800" indent="-1778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BR" sz="1200" b="0" i="0" u="none" baseline="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Um design com sistema de eliminação segura de resíduos – corpo 010</a:t>
            </a:r>
          </a:p>
          <a:p>
            <a:pPr marL="177800" indent="-1778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BR" sz="1200" b="0" i="0" u="none" baseline="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Um design com sistema de limpeza do filtro </a:t>
            </a:r>
            <a:r>
              <a:rPr lang="pt-BR" sz="1200" b="0" i="0" u="none" baseline="0" dirty="0" err="1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PullClean</a:t>
            </a:r>
            <a:r>
              <a:rPr lang="pt-BR" sz="1200" b="0" i="0" u="none" baseline="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, sem necessidade de consumíveis – corpo 011</a:t>
            </a:r>
          </a:p>
          <a:p>
            <a:pPr marL="177800" indent="-1778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BR" sz="1200" b="0" i="0" u="none" baseline="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Leve, robusto e fácil de manobrar, é a solução ideal para operações de limpeza rápidas e frequentes, mesmo em espaços reduzidos, com obstáculos no chão ou em zonas de difícil acesso.</a:t>
            </a:r>
          </a:p>
          <a:p>
            <a:pPr marL="177800" indent="-17780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BR" sz="1200" b="0" i="0" u="none" baseline="0" dirty="0">
                <a:latin typeface="Roboto Light" panose="02000000000000000000" pitchFamily="2" charset="0"/>
                <a:ea typeface="Roboto Light" panose="02000000000000000000" pitchFamily="2" charset="0"/>
                <a:cs typeface="Roboto Light" panose="02000000000000000000" pitchFamily="2" charset="0"/>
              </a:rPr>
              <a:t>Compatível com a nova gama de acessórios industriais EXA, especialmente desenvolvida com uma pegada compacta para maior ergonomia sem comprometer o desempenho.</a:t>
            </a:r>
            <a:endParaRPr lang="pt-pt" sz="1200" b="0" i="0" u="none" baseline="0" dirty="0">
              <a:latin typeface="Roboto Light" panose="02000000000000000000" pitchFamily="2" charset="0"/>
              <a:ea typeface="Roboto Light" panose="02000000000000000000" pitchFamily="2" charset="0"/>
              <a:cs typeface="Roboto Light" panose="02000000000000000000" pitchFamily="2" charset="0"/>
            </a:endParaRPr>
          </a:p>
        </p:txBody>
      </p:sp>
      <p:sp>
        <p:nvSpPr>
          <p:cNvPr id="11" name="Content Placeholder 1">
            <a:extLst>
              <a:ext uri="{FF2B5EF4-FFF2-40B4-BE49-F238E27FC236}">
                <a16:creationId xmlns:a16="http://schemas.microsoft.com/office/drawing/2014/main" id="{952C45EA-F56C-ADF0-7867-F36ED70A1E53}"/>
              </a:ext>
            </a:extLst>
          </p:cNvPr>
          <p:cNvSpPr txBox="1">
            <a:spLocks/>
          </p:cNvSpPr>
          <p:nvPr/>
        </p:nvSpPr>
        <p:spPr>
          <a:xfrm>
            <a:off x="479425" y="1837652"/>
            <a:ext cx="5395595" cy="1126719"/>
          </a:xfrm>
          <a:prstGeom prst="rect">
            <a:avLst/>
          </a:prstGeom>
        </p:spPr>
        <p:txBody>
          <a:bodyPr lIns="0" tIns="0" rIns="0" bIns="0" anchor="t" anchorCtr="0">
            <a:sp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pt-pt" sz="1200" b="0" i="0" u="none" spc="50" baseline="0" dirty="0">
                <a:latin typeface="Roboto regular" panose="02000000000000000000" pitchFamily="2" charset="0"/>
                <a:ea typeface="Roboto regular" panose="02000000000000000000" pitchFamily="2" charset="0"/>
                <a:cs typeface="Roboto regular" panose="02000000000000000000" pitchFamily="2" charset="0"/>
              </a:rPr>
              <a:t>CONHEÇA OS MINI ASPIRADORES INDUSTRIAIS DA NILFISK </a:t>
            </a:r>
            <a:endParaRPr lang="pt-pt" sz="1200" spc="50" dirty="0">
              <a:latin typeface="Roboto regular" panose="02000000000000000000" pitchFamily="2" charset="0"/>
              <a:ea typeface="Roboto regular" panose="02000000000000000000" pitchFamily="2" charset="0"/>
              <a:cs typeface="Roboto regular" panose="02000000000000000000" pitchFamily="2" charset="0"/>
            </a:endParaRPr>
          </a:p>
          <a:p>
            <a:pPr marL="0" indent="0" algn="l" rtl="0">
              <a:spcBef>
                <a:spcPts val="0"/>
              </a:spcBef>
              <a:spcAft>
                <a:spcPts val="300"/>
              </a:spcAft>
              <a:buFont typeface="Arial" panose="020B0604020202020204" pitchFamily="34" charset="0"/>
              <a:buNone/>
            </a:pPr>
            <a:r>
              <a:rPr lang="pt-pt" sz="3400" b="0" i="0" u="none" baseline="0" dirty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Pequeno, mas poderoso</a:t>
            </a:r>
          </a:p>
          <a:p>
            <a:pPr marL="0" indent="0" algn="l" rtl="0"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pt-pt" b="0" i="0" u="none" baseline="0" dirty="0"/>
              <a:t>Máximo desempenho, segurança e flexibilidade. Pegada mínima. 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54A9122A-792E-C4BA-4BF7-EA0C0E704AE7}"/>
              </a:ext>
            </a:extLst>
          </p:cNvPr>
          <p:cNvGrpSpPr/>
          <p:nvPr/>
        </p:nvGrpSpPr>
        <p:grpSpPr>
          <a:xfrm>
            <a:off x="749596" y="3685866"/>
            <a:ext cx="4077701" cy="3172134"/>
            <a:chOff x="749596" y="3635098"/>
            <a:chExt cx="4077701" cy="3172134"/>
          </a:xfrm>
        </p:grpSpPr>
        <p:pic>
          <p:nvPicPr>
            <p:cNvPr id="13" name="Picture 12" descr="A close-up of a vacuum&#10;&#10;AI-generated content may be incorrect.">
              <a:extLst>
                <a:ext uri="{FF2B5EF4-FFF2-40B4-BE49-F238E27FC236}">
                  <a16:creationId xmlns:a16="http://schemas.microsoft.com/office/drawing/2014/main" id="{8E238C31-64E9-0F80-6419-C80CD6F813C2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749596" y="3635098"/>
              <a:ext cx="2306686" cy="3070805"/>
            </a:xfrm>
            <a:prstGeom prst="rect">
              <a:avLst/>
            </a:prstGeom>
          </p:spPr>
        </p:pic>
        <p:pic>
          <p:nvPicPr>
            <p:cNvPr id="15" name="Picture 14" descr="A close-up of a vacuum&#10;&#10;AI-generated content may be incorrect.">
              <a:extLst>
                <a:ext uri="{FF2B5EF4-FFF2-40B4-BE49-F238E27FC236}">
                  <a16:creationId xmlns:a16="http://schemas.microsoft.com/office/drawing/2014/main" id="{8C2306D1-1FA2-0225-ED98-DB5A282AD718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2293793" y="3652912"/>
              <a:ext cx="2533504" cy="31543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060372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CE863BB8-C9E3-6FFE-C582-DA349903B8A0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238385B2-9269-385D-1542-81BB99911B7C}"/>
              </a:ext>
            </a:extLst>
          </p:cNvPr>
          <p:cNvSpPr>
            <a:spLocks noGrp="1"/>
          </p:cNvSpPr>
          <p:nvPr>
            <p:ph type="ftr" sz="quarter" idx="21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8E6EB4-D363-E476-66B5-76B2F5427E47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7</a:t>
            </a:fld>
            <a:endParaRPr lang="pt-pt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84470F32-8057-BB4C-1B33-117C279FE06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Layout</a:t>
            </a: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B96286C6-2B94-8DD3-3CF2-24626024309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79425" y="494490"/>
            <a:ext cx="5506081" cy="388013"/>
          </a:xfrm>
        </p:spPr>
        <p:txBody>
          <a:bodyPr/>
          <a:lstStyle/>
          <a:p>
            <a:pPr algn="l" rtl="0"/>
            <a:r>
              <a:rPr lang="pt-pt" b="1" i="0" u="none" baseline="0"/>
              <a:t>Mini IVS</a:t>
            </a:r>
          </a:p>
        </p:txBody>
      </p:sp>
      <p:sp>
        <p:nvSpPr>
          <p:cNvPr id="2" name="TextBox 6">
            <a:extLst>
              <a:ext uri="{FF2B5EF4-FFF2-40B4-BE49-F238E27FC236}">
                <a16:creationId xmlns:a16="http://schemas.microsoft.com/office/drawing/2014/main" id="{133B8C9C-0D1E-8F78-ADA4-0DB760A64115}"/>
              </a:ext>
            </a:extLst>
          </p:cNvPr>
          <p:cNvSpPr txBox="1"/>
          <p:nvPr/>
        </p:nvSpPr>
        <p:spPr>
          <a:xfrm>
            <a:off x="479425" y="4201134"/>
            <a:ext cx="3796740" cy="18372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algn="l" rtl="0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pt-pt" sz="2400" b="0" i="0" u="none" baseline="0">
                <a:latin typeface="+mj-lt"/>
                <a:ea typeface="+mj-lt"/>
                <a:cs typeface="+mj-lt"/>
              </a:rPr>
              <a:t>Eliminação segura – </a:t>
            </a:r>
            <a:br>
              <a:rPr lang="pt-pt" sz="2400" b="0" i="0" u="none" baseline="0">
                <a:latin typeface="+mj-lt"/>
                <a:ea typeface="+mj-lt"/>
                <a:cs typeface="+mj-lt"/>
              </a:rPr>
            </a:br>
            <a:r>
              <a:rPr lang="pt-pt" sz="2400" b="0" i="0" u="none" baseline="0">
                <a:solidFill>
                  <a:schemeClr val="accent6"/>
                </a:solidFill>
                <a:latin typeface="+mj-lt"/>
                <a:ea typeface="+mj-lt"/>
                <a:cs typeface="+mj-lt"/>
              </a:rPr>
              <a:t>corpo 010</a:t>
            </a:r>
          </a:p>
          <a:p>
            <a:pPr marL="171450" indent="-17145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pt" sz="1100" b="0" i="0" u="none" baseline="0"/>
              <a:t>Depósito 30 L</a:t>
            </a:r>
          </a:p>
          <a:p>
            <a:pPr marL="171450" indent="-17145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pt" sz="1100" b="0" i="0" u="none" baseline="0"/>
              <a:t>Configuração: filtro de saco + filtro de segurança H14</a:t>
            </a:r>
          </a:p>
          <a:p>
            <a:pPr marL="171450" indent="-17145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pt" sz="1100" b="0" i="0" u="none" baseline="0"/>
              <a:t>Ideal para poeira combustível e ATEX</a:t>
            </a:r>
          </a:p>
          <a:p>
            <a:pPr marL="171450" indent="-17145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pt" sz="1100" b="0" i="0" u="none" baseline="0"/>
              <a:t>Adequado para poeiras perigosas</a:t>
            </a:r>
          </a:p>
        </p:txBody>
      </p:sp>
      <p:sp>
        <p:nvSpPr>
          <p:cNvPr id="3" name="TextBox 7">
            <a:extLst>
              <a:ext uri="{FF2B5EF4-FFF2-40B4-BE49-F238E27FC236}">
                <a16:creationId xmlns:a16="http://schemas.microsoft.com/office/drawing/2014/main" id="{AC76DDE0-1F73-203A-A127-C1761F211B2B}"/>
              </a:ext>
            </a:extLst>
          </p:cNvPr>
          <p:cNvSpPr txBox="1"/>
          <p:nvPr/>
        </p:nvSpPr>
        <p:spPr>
          <a:xfrm>
            <a:off x="479425" y="1857782"/>
            <a:ext cx="3796740" cy="139410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algn="l" rtl="0">
              <a:lnSpc>
                <a:spcPct val="120000"/>
              </a:lnSpc>
              <a:spcAft>
                <a:spcPts val="1200"/>
              </a:spcAft>
              <a:buFont typeface="Arial" panose="020B0604020202020204" pitchFamily="34" charset="0"/>
              <a:buNone/>
            </a:pPr>
            <a:r>
              <a:rPr lang="pt-pt" sz="2400" b="0" i="0" u="none" baseline="0">
                <a:latin typeface="+mj-lt"/>
                <a:ea typeface="+mj-lt"/>
                <a:cs typeface="+mj-lt"/>
              </a:rPr>
              <a:t>PullClean</a:t>
            </a:r>
            <a:r>
              <a:rPr lang="pt-PT" sz="2400" b="0" i="0" u="none" baseline="0">
                <a:latin typeface="+mj-lt"/>
                <a:ea typeface="+mj-lt"/>
                <a:cs typeface="+mj-lt"/>
              </a:rPr>
              <a:t>™</a:t>
            </a:r>
            <a:r>
              <a:rPr lang="pt-pt" sz="2400" b="0" i="0" u="none" baseline="0">
                <a:latin typeface="+mj-lt"/>
                <a:ea typeface="+mj-lt"/>
                <a:cs typeface="+mj-lt"/>
              </a:rPr>
              <a:t> – </a:t>
            </a:r>
            <a:r>
              <a:rPr lang="pt-pt" sz="2400" b="0" i="0" u="none" baseline="0">
                <a:solidFill>
                  <a:schemeClr val="accent3"/>
                </a:solidFill>
                <a:latin typeface="+mj-lt"/>
                <a:ea typeface="+mj-lt"/>
                <a:cs typeface="+mj-lt"/>
              </a:rPr>
              <a:t>corpo 011</a:t>
            </a:r>
          </a:p>
          <a:p>
            <a:pPr marL="171450" indent="-17145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pt" sz="1100" b="0" i="0" u="none" baseline="0"/>
              <a:t>Depósito de 15 L com base de rodas amovível</a:t>
            </a:r>
          </a:p>
          <a:p>
            <a:pPr marL="171450" indent="-17145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pt" sz="1100" b="0" i="0" u="none" baseline="0"/>
              <a:t>Filtro HEPA 14 a montante opcional (incluído nos EUA)</a:t>
            </a:r>
          </a:p>
          <a:p>
            <a:pPr marL="171450" indent="-17145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pt" sz="1100" b="0" i="0" u="none" baseline="0"/>
              <a:t>Ideal para poeira combustível e ATEX</a:t>
            </a:r>
          </a:p>
          <a:p>
            <a:pPr marL="171450" indent="-171450" algn="l" rtl="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pt-pt" sz="1100" b="0" i="0" u="none" baseline="0"/>
              <a:t>Adequado para poeiras perigosa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CF0EEB03-F96C-1696-BBE4-3644B4DC6F8F}"/>
              </a:ext>
            </a:extLst>
          </p:cNvPr>
          <p:cNvSpPr/>
          <p:nvPr/>
        </p:nvSpPr>
        <p:spPr>
          <a:xfrm>
            <a:off x="4771558" y="0"/>
            <a:ext cx="7420442" cy="6273799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rtl="0"/>
            <a:endParaRPr lang="pt-pt" sz="2000">
              <a:solidFill>
                <a:schemeClr val="tx1"/>
              </a:solidFill>
            </a:endParaRPr>
          </a:p>
        </p:txBody>
      </p:sp>
      <p:pic>
        <p:nvPicPr>
          <p:cNvPr id="12" name="Immagine 78">
            <a:extLst>
              <a:ext uri="{FF2B5EF4-FFF2-40B4-BE49-F238E27FC236}">
                <a16:creationId xmlns:a16="http://schemas.microsoft.com/office/drawing/2014/main" id="{706DCC4C-3E41-7B23-6129-4D87BCD555A2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backgroundRemoval t="7212" b="98558" l="6061" r="93266">
                        <a14:foregroundMark x1="20202" y1="87019" x2="68350" y2="86058"/>
                        <a14:foregroundMark x1="66667" y1="81250" x2="27609" y2="99519"/>
                        <a14:foregroundMark x1="16498" y1="89904" x2="78114" y2="82692"/>
                        <a14:foregroundMark x1="78114" y1="82692" x2="87879" y2="99519"/>
                        <a14:foregroundMark x1="93266" y1="85096" x2="93266" y2="85096"/>
                        <a14:foregroundMark x1="6061" y1="86058" x2="6061" y2="86058"/>
                        <a14:foregroundMark x1="49495" y1="11058" x2="49495" y2="11058"/>
                        <a14:foregroundMark x1="68687" y1="8173" x2="68687" y2="8173"/>
                        <a14:foregroundMark x1="32660" y1="7212" x2="32660" y2="7212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422453" y="3144571"/>
            <a:ext cx="932460" cy="653036"/>
          </a:xfrm>
          <a:prstGeom prst="rect">
            <a:avLst/>
          </a:prstGeom>
        </p:spPr>
      </p:pic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5E38F87-8D0E-7D8D-999A-15395628A85B}"/>
              </a:ext>
            </a:extLst>
          </p:cNvPr>
          <p:cNvCxnSpPr>
            <a:cxnSpLocks/>
          </p:cNvCxnSpPr>
          <p:nvPr/>
        </p:nvCxnSpPr>
        <p:spPr>
          <a:xfrm>
            <a:off x="6532566" y="3475353"/>
            <a:ext cx="309500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Connector: Elbow 16">
            <a:extLst>
              <a:ext uri="{FF2B5EF4-FFF2-40B4-BE49-F238E27FC236}">
                <a16:creationId xmlns:a16="http://schemas.microsoft.com/office/drawing/2014/main" id="{063E386B-AD2B-C9C2-3626-6BDD290A4153}"/>
              </a:ext>
            </a:extLst>
          </p:cNvPr>
          <p:cNvCxnSpPr>
            <a:cxnSpLocks/>
          </p:cNvCxnSpPr>
          <p:nvPr/>
        </p:nvCxnSpPr>
        <p:spPr>
          <a:xfrm rot="5400000" flipH="1" flipV="1">
            <a:off x="6465704" y="2234144"/>
            <a:ext cx="1625884" cy="873161"/>
          </a:xfrm>
          <a:prstGeom prst="bentConnector3">
            <a:avLst>
              <a:gd name="adj1" fmla="val 99991"/>
            </a:avLst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8" name="Connector: Elbow 17">
            <a:extLst>
              <a:ext uri="{FF2B5EF4-FFF2-40B4-BE49-F238E27FC236}">
                <a16:creationId xmlns:a16="http://schemas.microsoft.com/office/drawing/2014/main" id="{F141CC01-9606-C655-FAE4-64AAD62594D6}"/>
              </a:ext>
            </a:extLst>
          </p:cNvPr>
          <p:cNvCxnSpPr>
            <a:cxnSpLocks/>
          </p:cNvCxnSpPr>
          <p:nvPr/>
        </p:nvCxnSpPr>
        <p:spPr>
          <a:xfrm rot="16200000" flipH="1">
            <a:off x="6552867" y="3764556"/>
            <a:ext cx="1451559" cy="873156"/>
          </a:xfrm>
          <a:prstGeom prst="bentConnector2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BA7E1C00-BADD-9977-4733-DC05A0C1BC0B}"/>
              </a:ext>
            </a:extLst>
          </p:cNvPr>
          <p:cNvCxnSpPr>
            <a:cxnSpLocks/>
          </p:cNvCxnSpPr>
          <p:nvPr/>
        </p:nvCxnSpPr>
        <p:spPr>
          <a:xfrm>
            <a:off x="8808192" y="1859076"/>
            <a:ext cx="1407851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75881E10-769C-E494-B578-E64C2D836AC6}"/>
              </a:ext>
            </a:extLst>
          </p:cNvPr>
          <p:cNvCxnSpPr>
            <a:cxnSpLocks/>
          </p:cNvCxnSpPr>
          <p:nvPr/>
        </p:nvCxnSpPr>
        <p:spPr>
          <a:xfrm>
            <a:off x="8808192" y="4926914"/>
            <a:ext cx="1407851" cy="0"/>
          </a:xfrm>
          <a:prstGeom prst="line">
            <a:avLst/>
          </a:pr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3" name="Immagine 66">
            <a:extLst>
              <a:ext uri="{FF2B5EF4-FFF2-40B4-BE49-F238E27FC236}">
                <a16:creationId xmlns:a16="http://schemas.microsoft.com/office/drawing/2014/main" id="{95BDCBF7-0507-6EF5-0F1A-67B8E4B482E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6269" b="-16991"/>
          <a:stretch/>
        </p:blipFill>
        <p:spPr>
          <a:xfrm>
            <a:off x="9395298" y="4038037"/>
            <a:ext cx="565131" cy="653035"/>
          </a:xfrm>
          <a:prstGeom prst="rect">
            <a:avLst/>
          </a:prstGeom>
        </p:spPr>
      </p:pic>
      <p:pic>
        <p:nvPicPr>
          <p:cNvPr id="24" name="Immagine 66">
            <a:extLst>
              <a:ext uri="{FF2B5EF4-FFF2-40B4-BE49-F238E27FC236}">
                <a16:creationId xmlns:a16="http://schemas.microsoft.com/office/drawing/2014/main" id="{F4DD0CAD-360E-B6FF-1F94-2EBF4B8DCB48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6269" b="-16991"/>
          <a:stretch/>
        </p:blipFill>
        <p:spPr>
          <a:xfrm>
            <a:off x="9345844" y="1063341"/>
            <a:ext cx="565131" cy="653035"/>
          </a:xfrm>
          <a:prstGeom prst="rect">
            <a:avLst/>
          </a:prstGeom>
        </p:spPr>
      </p:pic>
      <p:pic>
        <p:nvPicPr>
          <p:cNvPr id="25" name="Immagine 2">
            <a:extLst>
              <a:ext uri="{FF2B5EF4-FFF2-40B4-BE49-F238E27FC236}">
                <a16:creationId xmlns:a16="http://schemas.microsoft.com/office/drawing/2014/main" id="{02EC689F-8B32-6B84-F75B-92D1432E3E74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5920"/>
          <a:stretch/>
        </p:blipFill>
        <p:spPr>
          <a:xfrm>
            <a:off x="7475213" y="931479"/>
            <a:ext cx="1495958" cy="1625885"/>
          </a:xfrm>
          <a:prstGeom prst="rect">
            <a:avLst/>
          </a:prstGeom>
        </p:spPr>
      </p:pic>
      <p:pic>
        <p:nvPicPr>
          <p:cNvPr id="26" name="Immagine 4">
            <a:extLst>
              <a:ext uri="{FF2B5EF4-FFF2-40B4-BE49-F238E27FC236}">
                <a16:creationId xmlns:a16="http://schemas.microsoft.com/office/drawing/2014/main" id="{7456CFD3-79B8-4322-422A-D934790C37FA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0025"/>
          <a:stretch/>
        </p:blipFill>
        <p:spPr>
          <a:xfrm>
            <a:off x="7465121" y="3933440"/>
            <a:ext cx="1543365" cy="1882351"/>
          </a:xfrm>
          <a:prstGeom prst="rect">
            <a:avLst/>
          </a:prstGeom>
        </p:spPr>
      </p:pic>
      <p:pic>
        <p:nvPicPr>
          <p:cNvPr id="30" name="Picture 29" descr="A close-up of a vacuum&#10;&#10;AI-generated content may be incorrect.">
            <a:extLst>
              <a:ext uri="{FF2B5EF4-FFF2-40B4-BE49-F238E27FC236}">
                <a16:creationId xmlns:a16="http://schemas.microsoft.com/office/drawing/2014/main" id="{89278B98-A2A0-5826-6C80-CCF4B59506C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9769677" y="383417"/>
            <a:ext cx="2056147" cy="2737272"/>
          </a:xfrm>
          <a:prstGeom prst="rect">
            <a:avLst/>
          </a:prstGeom>
        </p:spPr>
      </p:pic>
      <p:pic>
        <p:nvPicPr>
          <p:cNvPr id="31" name="Picture 30" descr="A close-up of a vacuum&#10;&#10;AI-generated content may be incorrect.">
            <a:extLst>
              <a:ext uri="{FF2B5EF4-FFF2-40B4-BE49-F238E27FC236}">
                <a16:creationId xmlns:a16="http://schemas.microsoft.com/office/drawing/2014/main" id="{CF03A2A8-E1FA-D905-A327-51927301F01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654791" y="3468757"/>
            <a:ext cx="2258329" cy="2811716"/>
          </a:xfrm>
          <a:prstGeom prst="rect">
            <a:avLst/>
          </a:prstGeom>
        </p:spPr>
      </p:pic>
      <p:sp>
        <p:nvSpPr>
          <p:cNvPr id="13" name="TextBox 12">
            <a:extLst>
              <a:ext uri="{FF2B5EF4-FFF2-40B4-BE49-F238E27FC236}">
                <a16:creationId xmlns:a16="http://schemas.microsoft.com/office/drawing/2014/main" id="{E86FB94C-E5DC-060B-1C82-86B2C7D81962}"/>
              </a:ext>
            </a:extLst>
          </p:cNvPr>
          <p:cNvSpPr txBox="1"/>
          <p:nvPr/>
        </p:nvSpPr>
        <p:spPr>
          <a:xfrm>
            <a:off x="5150118" y="3859332"/>
            <a:ext cx="1448617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/>
            <a:r>
              <a:rPr lang="pt-pt" sz="14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Invólucro </a:t>
            </a:r>
            <a:br>
              <a:rPr lang="pt-pt" sz="14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</a:br>
            <a:r>
              <a:rPr lang="pt-pt" sz="14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da bomba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AF1F3042-84D9-49DC-7BC6-5D8BD565285B}"/>
              </a:ext>
            </a:extLst>
          </p:cNvPr>
          <p:cNvSpPr txBox="1"/>
          <p:nvPr/>
        </p:nvSpPr>
        <p:spPr>
          <a:xfrm>
            <a:off x="7203486" y="2246439"/>
            <a:ext cx="20666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/>
            <a:r>
              <a:rPr lang="pt-pt" sz="1400" b="0" i="0" u="none" baseline="0">
                <a:solidFill>
                  <a:schemeClr val="accent3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Corpo 011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3AB147FA-AF53-9C90-E183-D27CD066CF9B}"/>
              </a:ext>
            </a:extLst>
          </p:cNvPr>
          <p:cNvSpPr txBox="1"/>
          <p:nvPr/>
        </p:nvSpPr>
        <p:spPr>
          <a:xfrm>
            <a:off x="7203486" y="5310582"/>
            <a:ext cx="20666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/>
            <a:r>
              <a:rPr lang="pt-pt" sz="1400" b="0" i="0" u="none" baseline="0">
                <a:solidFill>
                  <a:schemeClr val="accent6"/>
                </a:solidFill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Corpo 010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8E87EAE-61F1-E818-2390-F0571D28A205}"/>
              </a:ext>
            </a:extLst>
          </p:cNvPr>
          <p:cNvSpPr txBox="1"/>
          <p:nvPr/>
        </p:nvSpPr>
        <p:spPr>
          <a:xfrm>
            <a:off x="9741795" y="2588677"/>
            <a:ext cx="20666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/>
            <a:r>
              <a:rPr lang="pt-pt" sz="14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VHC011 Z1 EXA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6E700100-CDE7-6D07-60D6-B0B559DAEA62}"/>
              </a:ext>
            </a:extLst>
          </p:cNvPr>
          <p:cNvSpPr txBox="1"/>
          <p:nvPr/>
        </p:nvSpPr>
        <p:spPr>
          <a:xfrm>
            <a:off x="9741795" y="5709350"/>
            <a:ext cx="2066636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rtl="0"/>
            <a:r>
              <a:rPr lang="pt-pt" sz="14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VHC010 SBS Z1 EXA</a:t>
            </a:r>
          </a:p>
        </p:txBody>
      </p:sp>
    </p:spTree>
    <p:extLst>
      <p:ext uri="{BB962C8B-B14F-4D97-AF65-F5344CB8AC3E}">
        <p14:creationId xmlns:p14="http://schemas.microsoft.com/office/powerpoint/2010/main" val="42032808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6" name="Content Placeholder 1">
            <a:extLst>
              <a:ext uri="{FF2B5EF4-FFF2-40B4-BE49-F238E27FC236}">
                <a16:creationId xmlns:a16="http://schemas.microsoft.com/office/drawing/2014/main" id="{B6A2BA7B-36D8-20DC-83BD-F8A91266F054}"/>
              </a:ext>
            </a:extLst>
          </p:cNvPr>
          <p:cNvSpPr txBox="1">
            <a:spLocks/>
          </p:cNvSpPr>
          <p:nvPr/>
        </p:nvSpPr>
        <p:spPr>
          <a:xfrm>
            <a:off x="6206962" y="1419099"/>
            <a:ext cx="5537459" cy="485238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22960" rIns="180000" bIns="216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lnSpc>
                <a:spcPct val="110000"/>
              </a:lnSpc>
              <a:buNone/>
            </a:pPr>
            <a:r>
              <a:rPr lang="pt-pt" sz="1100" b="0" i="0" u="none" baseline="0"/>
              <a:t> </a:t>
            </a:r>
          </a:p>
        </p:txBody>
      </p:sp>
      <p:sp>
        <p:nvSpPr>
          <p:cNvPr id="45" name="Content Placeholder 1">
            <a:extLst>
              <a:ext uri="{FF2B5EF4-FFF2-40B4-BE49-F238E27FC236}">
                <a16:creationId xmlns:a16="http://schemas.microsoft.com/office/drawing/2014/main" id="{0DCF0415-B95A-EB0F-77A5-30513F1980B5}"/>
              </a:ext>
            </a:extLst>
          </p:cNvPr>
          <p:cNvSpPr txBox="1">
            <a:spLocks/>
          </p:cNvSpPr>
          <p:nvPr/>
        </p:nvSpPr>
        <p:spPr>
          <a:xfrm>
            <a:off x="479425" y="1419099"/>
            <a:ext cx="5537459" cy="4852380"/>
          </a:xfrm>
          <a:prstGeom prst="rect">
            <a:avLst/>
          </a:prstGeom>
          <a:solidFill>
            <a:schemeClr val="bg1"/>
          </a:solidFill>
          <a:effectLst>
            <a:outerShdw blurRad="139700" sx="102000" sy="102000" algn="ctr" rotWithShape="0">
              <a:schemeClr val="bg2">
                <a:alpha val="30000"/>
              </a:schemeClr>
            </a:outerShdw>
          </a:effectLst>
        </p:spPr>
        <p:txBody>
          <a:bodyPr vert="horz" lIns="216000" tIns="822960" rIns="180000" bIns="216000" rtlCol="0">
            <a:noAutofit/>
          </a:bodyPr>
          <a:lstStyle>
            <a:lvl1pPr marL="19910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•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98209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Arial" panose="020B0604020202020204" pitchFamily="34" charset="0"/>
              <a:buChar char="–"/>
              <a:defRPr lang="pt-pt" sz="14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597314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3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810641" indent="-213327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009745" indent="-199105" algn="l" defTabSz="1023967" rtl="0" eaLnBrk="1" latinLnBrk="0" hangingPunct="1">
              <a:lnSpc>
                <a:spcPct val="120000"/>
              </a:lnSpc>
              <a:spcBef>
                <a:spcPct val="20000"/>
              </a:spcBef>
              <a:buFont typeface="Courier New" panose="02070309020205020404" pitchFamily="49" charset="0"/>
              <a:buChar char="o"/>
              <a:defRPr lang="pt-pt" sz="1200" kern="1200" noProof="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815910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327892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839876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4351859" indent="-255992" algn="l" defTabSz="1023967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l" rtl="0">
              <a:lnSpc>
                <a:spcPct val="110000"/>
              </a:lnSpc>
              <a:buNone/>
            </a:pPr>
            <a:r>
              <a:rPr lang="pt-pt" sz="1100" b="0" i="0" u="none" baseline="0"/>
              <a:t> </a:t>
            </a:r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480CB1E4-47FC-C495-432F-5A01056CFA58}"/>
              </a:ext>
            </a:extLst>
          </p:cNvPr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73CB04F-9FC6-2669-43B7-5116ED09E76F}"/>
              </a:ext>
            </a:extLst>
          </p:cNvPr>
          <p:cNvSpPr>
            <a:spLocks noGrp="1"/>
          </p:cNvSpPr>
          <p:nvPr>
            <p:ph type="sldNum" sz="quarter" idx="20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8</a:t>
            </a:fld>
            <a:endParaRPr lang="pt-pt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262DFB3-37D2-9798-1993-F4E9FA3E8B6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Vista em corte: diagrama de fluxo e modelos de arquitetura Z1/EXP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7C21501A-172A-ED0C-54C5-9A29CE4D3E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Definição dos produtos: arquitetura de ar comprimido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09386668-F910-CE2F-D6EF-CC8D219072E6}"/>
              </a:ext>
            </a:extLst>
          </p:cNvPr>
          <p:cNvSpPr txBox="1"/>
          <p:nvPr/>
        </p:nvSpPr>
        <p:spPr>
          <a:xfrm>
            <a:off x="9017433" y="1947260"/>
            <a:ext cx="2381890" cy="101874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VHC010 Z1 EXA</a:t>
            </a:r>
          </a:p>
          <a:p>
            <a:pPr algn="l" rtl="0">
              <a:lnSpc>
                <a:spcPct val="120000"/>
              </a:lnSpc>
            </a:pPr>
            <a:r>
              <a:rPr lang="pt-pt" sz="12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Eliminação segura com:</a:t>
            </a:r>
          </a:p>
          <a:p>
            <a:pPr algn="l" rtl="0">
              <a:lnSpc>
                <a:spcPct val="120000"/>
              </a:lnSpc>
            </a:pPr>
            <a:r>
              <a:rPr lang="pt-pt" sz="1200" b="0" i="0" u="none" baseline="0"/>
              <a:t>Filtro de lã antiestático </a:t>
            </a:r>
            <a:br>
              <a:rPr lang="pt-pt" sz="1200"/>
            </a:br>
            <a:r>
              <a:rPr lang="pt-pt" sz="1200" b="0" i="0" u="none" baseline="0"/>
              <a:t>classe M</a:t>
            </a:r>
          </a:p>
        </p:txBody>
      </p:sp>
      <p:sp>
        <p:nvSpPr>
          <p:cNvPr id="11" name="CasellaDiTesto 53">
            <a:extLst>
              <a:ext uri="{FF2B5EF4-FFF2-40B4-BE49-F238E27FC236}">
                <a16:creationId xmlns:a16="http://schemas.microsoft.com/office/drawing/2014/main" id="{FB7F0AF8-11A4-4C96-9787-2E57AF28E229}"/>
              </a:ext>
            </a:extLst>
          </p:cNvPr>
          <p:cNvSpPr txBox="1"/>
          <p:nvPr/>
        </p:nvSpPr>
        <p:spPr>
          <a:xfrm>
            <a:off x="3304019" y="4432209"/>
            <a:ext cx="967153" cy="205629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l" rtl="0"/>
            <a:r>
              <a:rPr lang="pt-pt" sz="1100" b="0" i="0" u="none" baseline="0"/>
              <a:t>Ar de processo</a:t>
            </a:r>
          </a:p>
        </p:txBody>
      </p:sp>
      <p:cxnSp>
        <p:nvCxnSpPr>
          <p:cNvPr id="12" name="Connettore diritto 54">
            <a:extLst>
              <a:ext uri="{FF2B5EF4-FFF2-40B4-BE49-F238E27FC236}">
                <a16:creationId xmlns:a16="http://schemas.microsoft.com/office/drawing/2014/main" id="{531F2F1B-5B8D-C8A9-937A-658AA7280504}"/>
              </a:ext>
            </a:extLst>
          </p:cNvPr>
          <p:cNvCxnSpPr>
            <a:cxnSpLocks/>
          </p:cNvCxnSpPr>
          <p:nvPr/>
        </p:nvCxnSpPr>
        <p:spPr>
          <a:xfrm>
            <a:off x="3304019" y="4663326"/>
            <a:ext cx="967153" cy="0"/>
          </a:xfrm>
          <a:prstGeom prst="line">
            <a:avLst/>
          </a:prstGeom>
          <a:ln w="57150"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CasellaDiTesto 55">
            <a:extLst>
              <a:ext uri="{FF2B5EF4-FFF2-40B4-BE49-F238E27FC236}">
                <a16:creationId xmlns:a16="http://schemas.microsoft.com/office/drawing/2014/main" id="{D4D25381-FE25-5105-378F-7F813F5C8118}"/>
              </a:ext>
            </a:extLst>
          </p:cNvPr>
          <p:cNvSpPr txBox="1"/>
          <p:nvPr/>
        </p:nvSpPr>
        <p:spPr>
          <a:xfrm>
            <a:off x="6533382" y="5660694"/>
            <a:ext cx="200242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pt-pt" sz="1100" b="0" i="0" u="none" baseline="0"/>
              <a:t>Sempre etapa de filtração 3</a:t>
            </a:r>
          </a:p>
        </p:txBody>
      </p:sp>
      <p:cxnSp>
        <p:nvCxnSpPr>
          <p:cNvPr id="14" name="Connettore diritto 56">
            <a:extLst>
              <a:ext uri="{FF2B5EF4-FFF2-40B4-BE49-F238E27FC236}">
                <a16:creationId xmlns:a16="http://schemas.microsoft.com/office/drawing/2014/main" id="{1E23E782-0BB7-4E9B-AA40-D2AE786AAFF5}"/>
              </a:ext>
            </a:extLst>
          </p:cNvPr>
          <p:cNvCxnSpPr>
            <a:cxnSpLocks/>
          </p:cNvCxnSpPr>
          <p:nvPr/>
        </p:nvCxnSpPr>
        <p:spPr>
          <a:xfrm flipV="1">
            <a:off x="3304019" y="5037482"/>
            <a:ext cx="1355146" cy="1122"/>
          </a:xfrm>
          <a:prstGeom prst="line">
            <a:avLst/>
          </a:prstGeom>
          <a:ln w="571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4">
            <a:extLst>
              <a:ext uri="{FF2B5EF4-FFF2-40B4-BE49-F238E27FC236}">
                <a16:creationId xmlns:a16="http://schemas.microsoft.com/office/drawing/2014/main" id="{2E577AEE-5B94-FA52-C2DF-67EFC2FAF2B7}"/>
              </a:ext>
            </a:extLst>
          </p:cNvPr>
          <p:cNvSpPr txBox="1"/>
          <p:nvPr/>
        </p:nvSpPr>
        <p:spPr>
          <a:xfrm>
            <a:off x="3304018" y="1947260"/>
            <a:ext cx="2369353" cy="1167884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algn="l" rtl="0">
              <a:lnSpc>
                <a:spcPct val="120000"/>
              </a:lnSpc>
              <a:spcAft>
                <a:spcPts val="300"/>
              </a:spcAft>
            </a:pPr>
            <a:r>
              <a:rPr lang="pt-pt" sz="16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VHC011 Z1 EXA </a:t>
            </a:r>
          </a:p>
          <a:p>
            <a:pPr algn="l" rtl="0">
              <a:lnSpc>
                <a:spcPct val="120000"/>
              </a:lnSpc>
            </a:pPr>
            <a:r>
              <a:rPr lang="pt-pt" sz="1200" b="0" i="0" u="none" baseline="0"/>
              <a:t>Com cartucho cónico </a:t>
            </a:r>
            <a:br>
              <a:rPr lang="pt-pt" sz="1200"/>
            </a:br>
            <a:r>
              <a:rPr lang="pt-pt" sz="1200" b="0" i="0" u="none" baseline="0"/>
              <a:t>Classe M e PullClean™</a:t>
            </a:r>
          </a:p>
          <a:p>
            <a:pPr algn="l" rtl="0">
              <a:lnSpc>
                <a:spcPct val="120000"/>
              </a:lnSpc>
            </a:pPr>
            <a:endParaRPr lang="pt-pt" sz="1100"/>
          </a:p>
          <a:p>
            <a:pPr algn="l" rtl="0">
              <a:lnSpc>
                <a:spcPct val="120000"/>
              </a:lnSpc>
            </a:pPr>
            <a:r>
              <a:rPr lang="pt-pt" sz="1100" b="0" i="0" u="none" baseline="0"/>
              <a:t>*ULPA para versões em aço inoxidável</a:t>
            </a:r>
            <a:endParaRPr lang="pt-pt" sz="1100"/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724B4BB9-7700-FA0C-27AF-EB0C632E7385}"/>
              </a:ext>
            </a:extLst>
          </p:cNvPr>
          <p:cNvSpPr txBox="1"/>
          <p:nvPr/>
        </p:nvSpPr>
        <p:spPr>
          <a:xfrm>
            <a:off x="9017433" y="4657378"/>
            <a:ext cx="2485206" cy="76020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VHC010 Z1 EXA SBS</a:t>
            </a:r>
          </a:p>
          <a:p>
            <a:pPr algn="l" rtl="0">
              <a:lnSpc>
                <a:spcPct val="120000"/>
              </a:lnSpc>
            </a:pPr>
            <a:r>
              <a:rPr lang="pt-pt" sz="12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Eliminação segura com:</a:t>
            </a:r>
          </a:p>
          <a:p>
            <a:pPr algn="l" rtl="0">
              <a:lnSpc>
                <a:spcPct val="120000"/>
              </a:lnSpc>
            </a:pPr>
            <a:r>
              <a:rPr lang="pt-pt" sz="1200" b="0" i="0" u="none" baseline="0"/>
              <a:t>Sistema de saco de segurança: SBS</a:t>
            </a:r>
          </a:p>
        </p:txBody>
      </p:sp>
      <p:sp>
        <p:nvSpPr>
          <p:cNvPr id="18" name="TextBox 26">
            <a:extLst>
              <a:ext uri="{FF2B5EF4-FFF2-40B4-BE49-F238E27FC236}">
                <a16:creationId xmlns:a16="http://schemas.microsoft.com/office/drawing/2014/main" id="{45A35C5E-C312-6041-8FE6-04415313D3D2}"/>
              </a:ext>
            </a:extLst>
          </p:cNvPr>
          <p:cNvSpPr txBox="1"/>
          <p:nvPr/>
        </p:nvSpPr>
        <p:spPr>
          <a:xfrm>
            <a:off x="9017432" y="3302319"/>
            <a:ext cx="2381889" cy="1018740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/>
          <a:p>
            <a:pPr marL="0" marR="0" lvl="0" indent="0" algn="l" defTabSz="102396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300"/>
              </a:spcAft>
              <a:buClrTx/>
              <a:buSzTx/>
              <a:buFontTx/>
              <a:buNone/>
              <a:tabLst/>
              <a:defRPr/>
            </a:pPr>
            <a:r>
              <a:rPr kumimoji="0" lang="pt-pt" sz="1600" b="0" i="0" u="none" strike="noStrike" kern="1200" cap="none" spc="0" normalizeH="0" baseline="0">
                <a:ln>
                  <a:noFill/>
                </a:ln>
                <a:solidFill>
                  <a:srgbClr val="28313F"/>
                </a:solidFill>
                <a:effectLst/>
                <a:uLnTx/>
                <a:uFillTx/>
                <a:latin typeface="Roboto Bold" panose="02000000000000000000" pitchFamily="2" charset="0"/>
                <a:ea typeface="+mn-ea"/>
                <a:cs typeface="+mn-cs"/>
              </a:rPr>
              <a:t>VHC010 Z1 EXA DBS </a:t>
            </a:r>
          </a:p>
          <a:p>
            <a:pPr algn="l" rtl="0">
              <a:lnSpc>
                <a:spcPct val="120000"/>
              </a:lnSpc>
            </a:pPr>
            <a:r>
              <a:rPr lang="pt-pt" sz="1200" b="0" i="0" u="none" baseline="0">
                <a:latin typeface="Roboto Bold" panose="02000000000000000000" pitchFamily="2" charset="0"/>
                <a:ea typeface="Roboto Bold" panose="02000000000000000000" pitchFamily="2" charset="0"/>
                <a:cs typeface="Roboto Bold" panose="02000000000000000000" pitchFamily="2" charset="0"/>
              </a:rPr>
              <a:t>Eliminação segura com:</a:t>
            </a:r>
          </a:p>
          <a:p>
            <a:pPr algn="l" rtl="0">
              <a:lnSpc>
                <a:spcPct val="120000"/>
              </a:lnSpc>
            </a:pPr>
            <a:r>
              <a:rPr lang="pt-pt" sz="1200" b="0" i="0" u="none" baseline="0"/>
              <a:t>Filtro de lã antiestático de </a:t>
            </a:r>
            <a:br>
              <a:rPr lang="pt-pt" sz="1200"/>
            </a:br>
            <a:r>
              <a:rPr lang="pt-pt" sz="1200" b="0" i="0" u="none" baseline="0"/>
              <a:t>classe M + válvula de guilhotina</a:t>
            </a:r>
          </a:p>
        </p:txBody>
      </p:sp>
      <p:sp>
        <p:nvSpPr>
          <p:cNvPr id="30" name="CasellaDiTesto 53">
            <a:extLst>
              <a:ext uri="{FF2B5EF4-FFF2-40B4-BE49-F238E27FC236}">
                <a16:creationId xmlns:a16="http://schemas.microsoft.com/office/drawing/2014/main" id="{DCFA591C-B5AF-EDB3-93F0-26CD42A1A1A2}"/>
              </a:ext>
            </a:extLst>
          </p:cNvPr>
          <p:cNvSpPr txBox="1"/>
          <p:nvPr/>
        </p:nvSpPr>
        <p:spPr>
          <a:xfrm>
            <a:off x="3304019" y="4803518"/>
            <a:ext cx="1875239" cy="205629"/>
          </a:xfrm>
          <a:prstGeom prst="rect">
            <a:avLst/>
          </a:prstGeom>
          <a:noFill/>
        </p:spPr>
        <p:txBody>
          <a:bodyPr wrap="square" lIns="0" tIns="0" rIns="0" bIns="36000" rtlCol="0">
            <a:spAutoFit/>
          </a:bodyPr>
          <a:lstStyle/>
          <a:p>
            <a:pPr algn="l" rtl="0"/>
            <a:r>
              <a:rPr lang="pt-pt" sz="1100" b="0" i="0" u="none" baseline="0"/>
              <a:t>Ar de processo limpo</a:t>
            </a:r>
          </a:p>
        </p:txBody>
      </p:sp>
      <p:sp>
        <p:nvSpPr>
          <p:cNvPr id="31" name="CasellaDiTesto 55">
            <a:extLst>
              <a:ext uri="{FF2B5EF4-FFF2-40B4-BE49-F238E27FC236}">
                <a16:creationId xmlns:a16="http://schemas.microsoft.com/office/drawing/2014/main" id="{B8DC0A8C-B9F4-1151-29AB-69B9B418010B}"/>
              </a:ext>
            </a:extLst>
          </p:cNvPr>
          <p:cNvSpPr txBox="1"/>
          <p:nvPr/>
        </p:nvSpPr>
        <p:spPr>
          <a:xfrm>
            <a:off x="1059564" y="5660694"/>
            <a:ext cx="1564658" cy="1692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 rtl="0"/>
            <a:r>
              <a:rPr lang="pt-pt" sz="1100" b="0" i="0" u="none" baseline="0"/>
              <a:t>Até etapa de filtração 3</a:t>
            </a:r>
          </a:p>
        </p:txBody>
      </p:sp>
      <p:grpSp>
        <p:nvGrpSpPr>
          <p:cNvPr id="53" name="Group 52">
            <a:extLst>
              <a:ext uri="{FF2B5EF4-FFF2-40B4-BE49-F238E27FC236}">
                <a16:creationId xmlns:a16="http://schemas.microsoft.com/office/drawing/2014/main" id="{675AC377-C581-7D01-E40A-588A944CF25B}"/>
              </a:ext>
            </a:extLst>
          </p:cNvPr>
          <p:cNvGrpSpPr/>
          <p:nvPr/>
        </p:nvGrpSpPr>
        <p:grpSpPr>
          <a:xfrm>
            <a:off x="6464848" y="1770644"/>
            <a:ext cx="2204911" cy="3775985"/>
            <a:chOff x="6464848" y="1751594"/>
            <a:chExt cx="2204911" cy="3775985"/>
          </a:xfrm>
        </p:grpSpPr>
        <p:pic>
          <p:nvPicPr>
            <p:cNvPr id="25" name="Immagine 43">
              <a:extLst>
                <a:ext uri="{FF2B5EF4-FFF2-40B4-BE49-F238E27FC236}">
                  <a16:creationId xmlns:a16="http://schemas.microsoft.com/office/drawing/2014/main" id="{11A989E9-9E88-512C-A129-1378A4B883A0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rcRect/>
            <a:stretch/>
          </p:blipFill>
          <p:spPr>
            <a:xfrm>
              <a:off x="6566443" y="1751594"/>
              <a:ext cx="1917400" cy="3775985"/>
            </a:xfrm>
            <a:prstGeom prst="rect">
              <a:avLst/>
            </a:prstGeom>
          </p:spPr>
        </p:pic>
        <p:sp>
          <p:nvSpPr>
            <p:cNvPr id="26" name="Freeform: Shape 345">
              <a:extLst>
                <a:ext uri="{FF2B5EF4-FFF2-40B4-BE49-F238E27FC236}">
                  <a16:creationId xmlns:a16="http://schemas.microsoft.com/office/drawing/2014/main" id="{51EEBAF9-1DDE-B3C2-3FF0-3CA2E59CEA78}"/>
                </a:ext>
              </a:extLst>
            </p:cNvPr>
            <p:cNvSpPr/>
            <p:nvPr/>
          </p:nvSpPr>
          <p:spPr>
            <a:xfrm rot="10800000" flipH="1">
              <a:off x="8047353" y="1885778"/>
              <a:ext cx="622406" cy="140925"/>
            </a:xfrm>
            <a:custGeom>
              <a:avLst/>
              <a:gdLst>
                <a:gd name="connsiteX0" fmla="*/ 0 w 1722120"/>
                <a:gd name="connsiteY0" fmla="*/ 0 h 918395"/>
                <a:gd name="connsiteX1" fmla="*/ 586740 w 1722120"/>
                <a:gd name="connsiteY1" fmla="*/ 822960 h 918395"/>
                <a:gd name="connsiteX2" fmla="*/ 1181100 w 1722120"/>
                <a:gd name="connsiteY2" fmla="*/ 815340 h 918395"/>
                <a:gd name="connsiteX3" fmla="*/ 1722120 w 1722120"/>
                <a:gd name="connsiteY3" fmla="*/ 53340 h 91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2120" h="918395">
                  <a:moveTo>
                    <a:pt x="0" y="0"/>
                  </a:moveTo>
                  <a:cubicBezTo>
                    <a:pt x="194945" y="343535"/>
                    <a:pt x="389890" y="687070"/>
                    <a:pt x="586740" y="822960"/>
                  </a:cubicBezTo>
                  <a:cubicBezTo>
                    <a:pt x="783590" y="958850"/>
                    <a:pt x="991870" y="943610"/>
                    <a:pt x="1181100" y="815340"/>
                  </a:cubicBezTo>
                  <a:cubicBezTo>
                    <a:pt x="1370330" y="687070"/>
                    <a:pt x="1546225" y="370205"/>
                    <a:pt x="1722120" y="53340"/>
                  </a:cubicBezTo>
                </a:path>
              </a:pathLst>
            </a:custGeom>
            <a:noFill/>
            <a:ln w="60325" cap="flat" cmpd="sng" algn="ctr">
              <a:solidFill>
                <a:schemeClr val="accent3"/>
              </a:solidFill>
              <a:prstDash val="solid"/>
              <a:miter lim="800000"/>
              <a:tailEnd type="triangle"/>
            </a:ln>
            <a:effectLst/>
          </p:spPr>
          <p:txBody>
            <a:bodyPr rtlCol="0" anchor="ctr"/>
            <a:lstStyle/>
            <a:p>
              <a:pPr algn="ctr" defTabSz="914400" rtl="0"/>
              <a:endParaRPr lang="pt-pt" sz="1200" kern="0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27" name="Connettore curvo 22">
              <a:extLst>
                <a:ext uri="{FF2B5EF4-FFF2-40B4-BE49-F238E27FC236}">
                  <a16:creationId xmlns:a16="http://schemas.microsoft.com/office/drawing/2014/main" id="{4256CBF3-EE75-6159-F2B3-EF2917FB8EF3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7114828" y="3087987"/>
              <a:ext cx="1420982" cy="1038572"/>
            </a:xfrm>
            <a:prstGeom prst="curvedConnector3">
              <a:avLst>
                <a:gd name="adj1" fmla="val 107051"/>
              </a:avLst>
            </a:prstGeom>
            <a:ln w="50800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8" name="Freeform: Shape 345">
              <a:extLst>
                <a:ext uri="{FF2B5EF4-FFF2-40B4-BE49-F238E27FC236}">
                  <a16:creationId xmlns:a16="http://schemas.microsoft.com/office/drawing/2014/main" id="{516F258A-4B35-A8E3-61EC-49775F5DE892}"/>
                </a:ext>
              </a:extLst>
            </p:cNvPr>
            <p:cNvSpPr/>
            <p:nvPr/>
          </p:nvSpPr>
          <p:spPr>
            <a:xfrm rot="10800000">
              <a:off x="6464848" y="1885779"/>
              <a:ext cx="568044" cy="124202"/>
            </a:xfrm>
            <a:custGeom>
              <a:avLst/>
              <a:gdLst>
                <a:gd name="connsiteX0" fmla="*/ 0 w 1722120"/>
                <a:gd name="connsiteY0" fmla="*/ 0 h 918395"/>
                <a:gd name="connsiteX1" fmla="*/ 586740 w 1722120"/>
                <a:gd name="connsiteY1" fmla="*/ 822960 h 918395"/>
                <a:gd name="connsiteX2" fmla="*/ 1181100 w 1722120"/>
                <a:gd name="connsiteY2" fmla="*/ 815340 h 918395"/>
                <a:gd name="connsiteX3" fmla="*/ 1722120 w 1722120"/>
                <a:gd name="connsiteY3" fmla="*/ 53340 h 91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2120" h="918395">
                  <a:moveTo>
                    <a:pt x="0" y="0"/>
                  </a:moveTo>
                  <a:cubicBezTo>
                    <a:pt x="194945" y="343535"/>
                    <a:pt x="389890" y="687070"/>
                    <a:pt x="586740" y="822960"/>
                  </a:cubicBezTo>
                  <a:cubicBezTo>
                    <a:pt x="783590" y="958850"/>
                    <a:pt x="991870" y="943610"/>
                    <a:pt x="1181100" y="815340"/>
                  </a:cubicBezTo>
                  <a:cubicBezTo>
                    <a:pt x="1370330" y="687070"/>
                    <a:pt x="1546225" y="370205"/>
                    <a:pt x="1722120" y="53340"/>
                  </a:cubicBezTo>
                </a:path>
              </a:pathLst>
            </a:custGeom>
            <a:noFill/>
            <a:ln w="60325" cap="flat" cmpd="sng" algn="ctr">
              <a:solidFill>
                <a:schemeClr val="accent3"/>
              </a:solidFill>
              <a:prstDash val="solid"/>
              <a:miter lim="800000"/>
              <a:tailEnd type="triangle"/>
            </a:ln>
            <a:effectLst/>
          </p:spPr>
          <p:txBody>
            <a:bodyPr rtlCol="0" anchor="ctr"/>
            <a:lstStyle/>
            <a:p>
              <a:pPr algn="ctr" defTabSz="914400" rtl="0"/>
              <a:endParaRPr lang="pt-pt" sz="1200" ker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29" name="Figura a mano libera: forma 68">
              <a:extLst>
                <a:ext uri="{FF2B5EF4-FFF2-40B4-BE49-F238E27FC236}">
                  <a16:creationId xmlns:a16="http://schemas.microsoft.com/office/drawing/2014/main" id="{3D0D913E-A361-A25C-CD46-BB0837DB126F}"/>
                </a:ext>
              </a:extLst>
            </p:cNvPr>
            <p:cNvSpPr/>
            <p:nvPr/>
          </p:nvSpPr>
          <p:spPr>
            <a:xfrm>
              <a:off x="6912731" y="3284119"/>
              <a:ext cx="1243731" cy="1602893"/>
            </a:xfrm>
            <a:custGeom>
              <a:avLst/>
              <a:gdLst>
                <a:gd name="connsiteX0" fmla="*/ 1734383 w 1867318"/>
                <a:gd name="connsiteY0" fmla="*/ 252181 h 1911308"/>
                <a:gd name="connsiteX1" fmla="*/ 1692050 w 1867318"/>
                <a:gd name="connsiteY1" fmla="*/ 57447 h 1911308"/>
                <a:gd name="connsiteX2" fmla="*/ 1573516 w 1867318"/>
                <a:gd name="connsiteY2" fmla="*/ 23581 h 1911308"/>
                <a:gd name="connsiteX3" fmla="*/ 1497316 w 1867318"/>
                <a:gd name="connsiteY3" fmla="*/ 379181 h 1911308"/>
                <a:gd name="connsiteX4" fmla="*/ 362783 w 1867318"/>
                <a:gd name="connsiteY4" fmla="*/ 362247 h 1911308"/>
                <a:gd name="connsiteX5" fmla="*/ 32583 w 1867318"/>
                <a:gd name="connsiteY5" fmla="*/ 590847 h 1911308"/>
                <a:gd name="connsiteX6" fmla="*/ 49516 w 1867318"/>
                <a:gd name="connsiteY6" fmla="*/ 1606847 h 1911308"/>
                <a:gd name="connsiteX7" fmla="*/ 362783 w 1867318"/>
                <a:gd name="connsiteY7" fmla="*/ 1886247 h 1911308"/>
                <a:gd name="connsiteX8" fmla="*/ 1565050 w 1867318"/>
                <a:gd name="connsiteY8" fmla="*/ 1877781 h 1911308"/>
                <a:gd name="connsiteX9" fmla="*/ 1861383 w 1867318"/>
                <a:gd name="connsiteY9" fmla="*/ 1708447 h 1911308"/>
                <a:gd name="connsiteX10" fmla="*/ 1751316 w 1867318"/>
                <a:gd name="connsiteY10" fmla="*/ 1022647 h 1911308"/>
                <a:gd name="connsiteX11" fmla="*/ 1607383 w 1867318"/>
                <a:gd name="connsiteY11" fmla="*/ 827914 h 1911308"/>
                <a:gd name="connsiteX12" fmla="*/ 1708983 w 1867318"/>
                <a:gd name="connsiteY12" fmla="*/ 616247 h 1911308"/>
                <a:gd name="connsiteX13" fmla="*/ 1734383 w 1867318"/>
                <a:gd name="connsiteY13" fmla="*/ 252181 h 191130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1867318" h="1911308">
                  <a:moveTo>
                    <a:pt x="1734383" y="252181"/>
                  </a:moveTo>
                  <a:cubicBezTo>
                    <a:pt x="1731561" y="159048"/>
                    <a:pt x="1718861" y="95547"/>
                    <a:pt x="1692050" y="57447"/>
                  </a:cubicBezTo>
                  <a:cubicBezTo>
                    <a:pt x="1665239" y="19347"/>
                    <a:pt x="1605972" y="-30041"/>
                    <a:pt x="1573516" y="23581"/>
                  </a:cubicBezTo>
                  <a:cubicBezTo>
                    <a:pt x="1541060" y="77203"/>
                    <a:pt x="1699105" y="322737"/>
                    <a:pt x="1497316" y="379181"/>
                  </a:cubicBezTo>
                  <a:cubicBezTo>
                    <a:pt x="1295527" y="435625"/>
                    <a:pt x="606905" y="326969"/>
                    <a:pt x="362783" y="362247"/>
                  </a:cubicBezTo>
                  <a:cubicBezTo>
                    <a:pt x="118661" y="397525"/>
                    <a:pt x="84794" y="383414"/>
                    <a:pt x="32583" y="590847"/>
                  </a:cubicBezTo>
                  <a:cubicBezTo>
                    <a:pt x="-19628" y="798280"/>
                    <a:pt x="-5517" y="1390947"/>
                    <a:pt x="49516" y="1606847"/>
                  </a:cubicBezTo>
                  <a:cubicBezTo>
                    <a:pt x="104549" y="1822747"/>
                    <a:pt x="110194" y="1841091"/>
                    <a:pt x="362783" y="1886247"/>
                  </a:cubicBezTo>
                  <a:cubicBezTo>
                    <a:pt x="615372" y="1931403"/>
                    <a:pt x="1315283" y="1907414"/>
                    <a:pt x="1565050" y="1877781"/>
                  </a:cubicBezTo>
                  <a:cubicBezTo>
                    <a:pt x="1814817" y="1848148"/>
                    <a:pt x="1830339" y="1850969"/>
                    <a:pt x="1861383" y="1708447"/>
                  </a:cubicBezTo>
                  <a:cubicBezTo>
                    <a:pt x="1892427" y="1565925"/>
                    <a:pt x="1793649" y="1169402"/>
                    <a:pt x="1751316" y="1022647"/>
                  </a:cubicBezTo>
                  <a:cubicBezTo>
                    <a:pt x="1708983" y="875892"/>
                    <a:pt x="1614438" y="895647"/>
                    <a:pt x="1607383" y="827914"/>
                  </a:cubicBezTo>
                  <a:cubicBezTo>
                    <a:pt x="1600328" y="760181"/>
                    <a:pt x="1692050" y="717847"/>
                    <a:pt x="1708983" y="616247"/>
                  </a:cubicBezTo>
                  <a:cubicBezTo>
                    <a:pt x="1725916" y="514647"/>
                    <a:pt x="1737205" y="345314"/>
                    <a:pt x="1734383" y="252181"/>
                  </a:cubicBezTo>
                  <a:close/>
                </a:path>
              </a:pathLst>
            </a:custGeom>
            <a:noFill/>
            <a:ln w="1905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rtl="0"/>
              <a:endParaRPr lang="pt-pt" sz="2000">
                <a:solidFill>
                  <a:schemeClr val="tx1"/>
                </a:solidFill>
              </a:endParaRPr>
            </a:p>
          </p:txBody>
        </p:sp>
        <p:sp>
          <p:nvSpPr>
            <p:cNvPr id="32" name="Rettangolo 6">
              <a:extLst>
                <a:ext uri="{FF2B5EF4-FFF2-40B4-BE49-F238E27FC236}">
                  <a16:creationId xmlns:a16="http://schemas.microsoft.com/office/drawing/2014/main" id="{32A10522-405D-F54A-DE79-62F95C0C5E8E}"/>
                </a:ext>
              </a:extLst>
            </p:cNvPr>
            <p:cNvSpPr/>
            <p:nvPr/>
          </p:nvSpPr>
          <p:spPr>
            <a:xfrm>
              <a:off x="6988458" y="4088162"/>
              <a:ext cx="1058896" cy="530626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 rtl="0"/>
              <a:r>
                <a:rPr lang="pt-pt" sz="1400" b="0" i="0" u="none" cap="none" baseline="0">
                  <a:ln w="22225">
                    <a:noFill/>
                    <a:prstDash val="solid"/>
                  </a:ln>
                  <a:solidFill>
                    <a:schemeClr val="accent3"/>
                  </a:solidFill>
                  <a:effectLst/>
                  <a:latin typeface="+mj-lt"/>
                  <a:ea typeface="+mj-lt"/>
                  <a:cs typeface="+mj-lt"/>
                </a:rPr>
                <a:t>Filtro de saco MCLASS</a:t>
              </a:r>
            </a:p>
          </p:txBody>
        </p:sp>
        <p:sp>
          <p:nvSpPr>
            <p:cNvPr id="35" name="Rettangolo 16">
              <a:extLst>
                <a:ext uri="{FF2B5EF4-FFF2-40B4-BE49-F238E27FC236}">
                  <a16:creationId xmlns:a16="http://schemas.microsoft.com/office/drawing/2014/main" id="{9B8F717B-FFD4-F327-A559-DEB09904F262}"/>
                </a:ext>
              </a:extLst>
            </p:cNvPr>
            <p:cNvSpPr/>
            <p:nvPr/>
          </p:nvSpPr>
          <p:spPr>
            <a:xfrm>
              <a:off x="7000277" y="2862135"/>
              <a:ext cx="1058896" cy="307777"/>
            </a:xfrm>
            <a:prstGeom prst="rect">
              <a:avLst/>
            </a:prstGeom>
            <a:noFill/>
          </p:spPr>
          <p:txBody>
            <a:bodyPr wrap="square" lIns="91440" tIns="45720" rIns="91440" bIns="45720" anchor="ctr">
              <a:spAutoFit/>
            </a:bodyPr>
            <a:lstStyle/>
            <a:p>
              <a:pPr algn="ctr" rtl="0"/>
              <a:r>
                <a:rPr lang="pt-pt" sz="1400" b="0" i="0" u="none" cap="none" baseline="0">
                  <a:ln w="22225">
                    <a:noFill/>
                    <a:prstDash val="solid"/>
                  </a:ln>
                  <a:solidFill>
                    <a:schemeClr val="accent3"/>
                  </a:solidFill>
                  <a:effectLst/>
                  <a:latin typeface="+mj-lt"/>
                  <a:ea typeface="+mj-lt"/>
                  <a:cs typeface="+mj-lt"/>
                </a:rPr>
                <a:t>H14 HEPA</a:t>
              </a:r>
            </a:p>
          </p:txBody>
        </p:sp>
        <p:sp>
          <p:nvSpPr>
            <p:cNvPr id="36" name="Rettangolo 17">
              <a:extLst>
                <a:ext uri="{FF2B5EF4-FFF2-40B4-BE49-F238E27FC236}">
                  <a16:creationId xmlns:a16="http://schemas.microsoft.com/office/drawing/2014/main" id="{45C205EA-536F-CEF6-8B54-24BAEE6C9F3C}"/>
                </a:ext>
              </a:extLst>
            </p:cNvPr>
            <p:cNvSpPr/>
            <p:nvPr/>
          </p:nvSpPr>
          <p:spPr>
            <a:xfrm rot="19721719">
              <a:off x="6712612" y="1991221"/>
              <a:ext cx="757525" cy="30720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 rtl="0"/>
              <a:r>
                <a:rPr lang="pt-pt" sz="1400" b="0" i="0" u="none" cap="none" baseline="0">
                  <a:ln w="22225">
                    <a:noFill/>
                    <a:prstDash val="solid"/>
                  </a:ln>
                  <a:solidFill>
                    <a:schemeClr val="accent3"/>
                  </a:solidFill>
                  <a:effectLst/>
                  <a:latin typeface="+mj-lt"/>
                  <a:ea typeface="+mj-lt"/>
                  <a:cs typeface="+mj-lt"/>
                </a:rPr>
                <a:t>E10</a:t>
              </a:r>
            </a:p>
          </p:txBody>
        </p:sp>
        <p:sp>
          <p:nvSpPr>
            <p:cNvPr id="37" name="Rettangolo 18">
              <a:extLst>
                <a:ext uri="{FF2B5EF4-FFF2-40B4-BE49-F238E27FC236}">
                  <a16:creationId xmlns:a16="http://schemas.microsoft.com/office/drawing/2014/main" id="{A62EF1D3-F86E-208A-0C47-0E0DD29D1F66}"/>
                </a:ext>
              </a:extLst>
            </p:cNvPr>
            <p:cNvSpPr/>
            <p:nvPr/>
          </p:nvSpPr>
          <p:spPr>
            <a:xfrm rot="2291327">
              <a:off x="7581920" y="2001256"/>
              <a:ext cx="757525" cy="307204"/>
            </a:xfrm>
            <a:prstGeom prst="rect">
              <a:avLst/>
            </a:prstGeom>
            <a:noFill/>
          </p:spPr>
          <p:txBody>
            <a:bodyPr wrap="square" lIns="91440" tIns="45720" rIns="91440" bIns="45720">
              <a:spAutoFit/>
            </a:bodyPr>
            <a:lstStyle/>
            <a:p>
              <a:pPr algn="ctr" rtl="0"/>
              <a:r>
                <a:rPr lang="pt-pt" sz="1400" b="0" i="0" u="none" cap="none" baseline="0">
                  <a:ln w="22225">
                    <a:noFill/>
                    <a:prstDash val="solid"/>
                  </a:ln>
                  <a:solidFill>
                    <a:schemeClr val="accent3"/>
                  </a:solidFill>
                  <a:effectLst/>
                  <a:latin typeface="+mj-lt"/>
                  <a:ea typeface="+mj-lt"/>
                  <a:cs typeface="+mj-lt"/>
                </a:rPr>
                <a:t>E10</a:t>
              </a:r>
            </a:p>
          </p:txBody>
        </p:sp>
      </p:grpSp>
      <p:grpSp>
        <p:nvGrpSpPr>
          <p:cNvPr id="52" name="Group 51">
            <a:extLst>
              <a:ext uri="{FF2B5EF4-FFF2-40B4-BE49-F238E27FC236}">
                <a16:creationId xmlns:a16="http://schemas.microsoft.com/office/drawing/2014/main" id="{82FC9512-4310-D450-8EA1-3817EC4CADF8}"/>
              </a:ext>
            </a:extLst>
          </p:cNvPr>
          <p:cNvGrpSpPr/>
          <p:nvPr/>
        </p:nvGrpSpPr>
        <p:grpSpPr>
          <a:xfrm>
            <a:off x="792678" y="1747202"/>
            <a:ext cx="2183064" cy="3705260"/>
            <a:chOff x="792678" y="1728152"/>
            <a:chExt cx="2183064" cy="3705260"/>
          </a:xfrm>
        </p:grpSpPr>
        <p:pic>
          <p:nvPicPr>
            <p:cNvPr id="20" name="Immagine 13">
              <a:extLst>
                <a:ext uri="{FF2B5EF4-FFF2-40B4-BE49-F238E27FC236}">
                  <a16:creationId xmlns:a16="http://schemas.microsoft.com/office/drawing/2014/main" id="{F62CC74D-82F3-DCA9-27AD-BF61C5A45AC1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rcRect/>
            <a:stretch/>
          </p:blipFill>
          <p:spPr>
            <a:xfrm>
              <a:off x="921018" y="1728152"/>
              <a:ext cx="1935037" cy="3705260"/>
            </a:xfrm>
            <a:prstGeom prst="rect">
              <a:avLst/>
            </a:prstGeom>
          </p:spPr>
        </p:pic>
        <p:sp>
          <p:nvSpPr>
            <p:cNvPr id="21" name="Freeform: Shape 345">
              <a:extLst>
                <a:ext uri="{FF2B5EF4-FFF2-40B4-BE49-F238E27FC236}">
                  <a16:creationId xmlns:a16="http://schemas.microsoft.com/office/drawing/2014/main" id="{00418032-AB61-0D50-0020-5BD7C676D5FA}"/>
                </a:ext>
              </a:extLst>
            </p:cNvPr>
            <p:cNvSpPr/>
            <p:nvPr/>
          </p:nvSpPr>
          <p:spPr>
            <a:xfrm rot="10800000" flipH="1">
              <a:off x="2302676" y="1885778"/>
              <a:ext cx="673066" cy="142271"/>
            </a:xfrm>
            <a:custGeom>
              <a:avLst/>
              <a:gdLst>
                <a:gd name="connsiteX0" fmla="*/ 0 w 1722120"/>
                <a:gd name="connsiteY0" fmla="*/ 0 h 918395"/>
                <a:gd name="connsiteX1" fmla="*/ 586740 w 1722120"/>
                <a:gd name="connsiteY1" fmla="*/ 822960 h 918395"/>
                <a:gd name="connsiteX2" fmla="*/ 1181100 w 1722120"/>
                <a:gd name="connsiteY2" fmla="*/ 815340 h 918395"/>
                <a:gd name="connsiteX3" fmla="*/ 1722120 w 1722120"/>
                <a:gd name="connsiteY3" fmla="*/ 53340 h 91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2120" h="918395">
                  <a:moveTo>
                    <a:pt x="0" y="0"/>
                  </a:moveTo>
                  <a:cubicBezTo>
                    <a:pt x="194945" y="343535"/>
                    <a:pt x="389890" y="687070"/>
                    <a:pt x="586740" y="822960"/>
                  </a:cubicBezTo>
                  <a:cubicBezTo>
                    <a:pt x="783590" y="958850"/>
                    <a:pt x="991870" y="943610"/>
                    <a:pt x="1181100" y="815340"/>
                  </a:cubicBezTo>
                  <a:cubicBezTo>
                    <a:pt x="1370330" y="687070"/>
                    <a:pt x="1546225" y="370205"/>
                    <a:pt x="1722120" y="53340"/>
                  </a:cubicBezTo>
                </a:path>
              </a:pathLst>
            </a:custGeom>
            <a:noFill/>
            <a:ln w="60325" cap="flat" cmpd="sng" algn="ctr">
              <a:solidFill>
                <a:schemeClr val="accent3"/>
              </a:solidFill>
              <a:prstDash val="solid"/>
              <a:miter lim="800000"/>
              <a:tailEnd type="triangle"/>
            </a:ln>
            <a:effectLst/>
          </p:spPr>
          <p:txBody>
            <a:bodyPr rtlCol="0" anchor="ctr"/>
            <a:lstStyle/>
            <a:p>
              <a:pPr algn="ctr" defTabSz="914400" rtl="0"/>
              <a:endParaRPr lang="pt-pt" sz="1200" kern="0">
                <a:solidFill>
                  <a:srgbClr val="FFFFFF"/>
                </a:solidFill>
                <a:latin typeface="Arial"/>
              </a:endParaRPr>
            </a:p>
          </p:txBody>
        </p:sp>
        <p:cxnSp>
          <p:nvCxnSpPr>
            <p:cNvPr id="22" name="Connettore curvo 22">
              <a:extLst>
                <a:ext uri="{FF2B5EF4-FFF2-40B4-BE49-F238E27FC236}">
                  <a16:creationId xmlns:a16="http://schemas.microsoft.com/office/drawing/2014/main" id="{EF53D3DA-F697-4B35-FE22-B299D71A54CE}"/>
                </a:ext>
              </a:extLst>
            </p:cNvPr>
            <p:cNvCxnSpPr>
              <a:cxnSpLocks/>
            </p:cNvCxnSpPr>
            <p:nvPr/>
          </p:nvCxnSpPr>
          <p:spPr>
            <a:xfrm rot="10800000">
              <a:off x="1420811" y="3049938"/>
              <a:ext cx="1420982" cy="1038572"/>
            </a:xfrm>
            <a:prstGeom prst="curvedConnector3">
              <a:avLst>
                <a:gd name="adj1" fmla="val 107051"/>
              </a:avLst>
            </a:prstGeom>
            <a:ln w="50800">
              <a:solidFill>
                <a:schemeClr val="accent6"/>
              </a:solidFill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3" name="Freeform: Shape 345">
              <a:extLst>
                <a:ext uri="{FF2B5EF4-FFF2-40B4-BE49-F238E27FC236}">
                  <a16:creationId xmlns:a16="http://schemas.microsoft.com/office/drawing/2014/main" id="{9C8208F1-EE06-04B9-DCC3-8D7DA789E913}"/>
                </a:ext>
              </a:extLst>
            </p:cNvPr>
            <p:cNvSpPr/>
            <p:nvPr/>
          </p:nvSpPr>
          <p:spPr>
            <a:xfrm rot="10800000">
              <a:off x="792678" y="1885778"/>
              <a:ext cx="557763" cy="122067"/>
            </a:xfrm>
            <a:custGeom>
              <a:avLst/>
              <a:gdLst>
                <a:gd name="connsiteX0" fmla="*/ 0 w 1722120"/>
                <a:gd name="connsiteY0" fmla="*/ 0 h 918395"/>
                <a:gd name="connsiteX1" fmla="*/ 586740 w 1722120"/>
                <a:gd name="connsiteY1" fmla="*/ 822960 h 918395"/>
                <a:gd name="connsiteX2" fmla="*/ 1181100 w 1722120"/>
                <a:gd name="connsiteY2" fmla="*/ 815340 h 918395"/>
                <a:gd name="connsiteX3" fmla="*/ 1722120 w 1722120"/>
                <a:gd name="connsiteY3" fmla="*/ 53340 h 9183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722120" h="918395">
                  <a:moveTo>
                    <a:pt x="0" y="0"/>
                  </a:moveTo>
                  <a:cubicBezTo>
                    <a:pt x="194945" y="343535"/>
                    <a:pt x="389890" y="687070"/>
                    <a:pt x="586740" y="822960"/>
                  </a:cubicBezTo>
                  <a:cubicBezTo>
                    <a:pt x="783590" y="958850"/>
                    <a:pt x="991870" y="943610"/>
                    <a:pt x="1181100" y="815340"/>
                  </a:cubicBezTo>
                  <a:cubicBezTo>
                    <a:pt x="1370330" y="687070"/>
                    <a:pt x="1546225" y="370205"/>
                    <a:pt x="1722120" y="53340"/>
                  </a:cubicBezTo>
                </a:path>
              </a:pathLst>
            </a:custGeom>
            <a:noFill/>
            <a:ln w="60325" cap="flat" cmpd="sng" algn="ctr">
              <a:solidFill>
                <a:schemeClr val="accent3"/>
              </a:solidFill>
              <a:prstDash val="solid"/>
              <a:miter lim="800000"/>
              <a:tailEnd type="triangle"/>
            </a:ln>
            <a:effectLst/>
          </p:spPr>
          <p:txBody>
            <a:bodyPr rtlCol="0" anchor="ctr"/>
            <a:lstStyle/>
            <a:p>
              <a:pPr algn="ctr" defTabSz="914400" rtl="0"/>
              <a:endParaRPr lang="pt-pt" sz="1200" kern="0">
                <a:solidFill>
                  <a:srgbClr val="FFFFFF"/>
                </a:solidFill>
                <a:latin typeface="Arial"/>
              </a:endParaRPr>
            </a:p>
          </p:txBody>
        </p:sp>
        <p:sp>
          <p:nvSpPr>
            <p:cNvPr id="33" name="Rettangolo 12">
              <a:extLst>
                <a:ext uri="{FF2B5EF4-FFF2-40B4-BE49-F238E27FC236}">
                  <a16:creationId xmlns:a16="http://schemas.microsoft.com/office/drawing/2014/main" id="{6F64CD1B-A593-7ACE-1A7F-E7B0A33D8338}"/>
                </a:ext>
              </a:extLst>
            </p:cNvPr>
            <p:cNvSpPr/>
            <p:nvPr/>
          </p:nvSpPr>
          <p:spPr>
            <a:xfrm>
              <a:off x="1316581" y="3567228"/>
              <a:ext cx="1058895" cy="52322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>
              <a:spAutoFit/>
            </a:bodyPr>
            <a:lstStyle/>
            <a:p>
              <a:pPr algn="ctr" rtl="0"/>
              <a:r>
                <a:rPr lang="pt-pt" sz="1400" b="0" i="0" u="none" cap="none" baseline="0">
                  <a:ln w="22225">
                    <a:noFill/>
                    <a:prstDash val="solid"/>
                  </a:ln>
                  <a:solidFill>
                    <a:schemeClr val="accent3"/>
                  </a:solidFill>
                  <a:effectLst/>
                  <a:latin typeface="+mj-lt"/>
                  <a:ea typeface="+mj-lt"/>
                  <a:cs typeface="+mj-lt"/>
                </a:rPr>
                <a:t>Cartucho MCLASS</a:t>
              </a:r>
            </a:p>
          </p:txBody>
        </p:sp>
        <p:sp>
          <p:nvSpPr>
            <p:cNvPr id="34" name="Rettangolo 14">
              <a:extLst>
                <a:ext uri="{FF2B5EF4-FFF2-40B4-BE49-F238E27FC236}">
                  <a16:creationId xmlns:a16="http://schemas.microsoft.com/office/drawing/2014/main" id="{6B8ECD11-8521-99DE-D2CE-B2F3D773780C}"/>
                </a:ext>
              </a:extLst>
            </p:cNvPr>
            <p:cNvSpPr/>
            <p:nvPr/>
          </p:nvSpPr>
          <p:spPr>
            <a:xfrm>
              <a:off x="1350442" y="2862135"/>
              <a:ext cx="1058896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 anchor="ctr">
              <a:spAutoFit/>
            </a:bodyPr>
            <a:lstStyle/>
            <a:p>
              <a:pPr algn="ctr" rtl="0"/>
              <a:r>
                <a:rPr lang="pt-pt" sz="1400" b="0" i="0" u="none" cap="none" baseline="0">
                  <a:ln w="22225">
                    <a:noFill/>
                    <a:prstDash val="solid"/>
                  </a:ln>
                  <a:solidFill>
                    <a:schemeClr val="accent3"/>
                  </a:solidFill>
                  <a:effectLst/>
                  <a:latin typeface="+mj-lt"/>
                  <a:ea typeface="+mj-lt"/>
                  <a:cs typeface="+mj-lt"/>
                </a:rPr>
                <a:t>H14 HEPA</a:t>
              </a:r>
            </a:p>
          </p:txBody>
        </p:sp>
        <p:sp>
          <p:nvSpPr>
            <p:cNvPr id="38" name="Rettangolo 19">
              <a:extLst>
                <a:ext uri="{FF2B5EF4-FFF2-40B4-BE49-F238E27FC236}">
                  <a16:creationId xmlns:a16="http://schemas.microsoft.com/office/drawing/2014/main" id="{B8FE9056-8D31-1405-469F-8E58E4A110B5}"/>
                </a:ext>
              </a:extLst>
            </p:cNvPr>
            <p:cNvSpPr/>
            <p:nvPr/>
          </p:nvSpPr>
          <p:spPr>
            <a:xfrm rot="19721719">
              <a:off x="1024116" y="2000970"/>
              <a:ext cx="757525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>
              <a:spAutoFit/>
            </a:bodyPr>
            <a:lstStyle/>
            <a:p>
              <a:pPr algn="ctr" rtl="0"/>
              <a:r>
                <a:rPr lang="pt-pt" sz="1400" b="0" i="0" u="none" cap="none" baseline="0">
                  <a:ln w="22225">
                    <a:noFill/>
                    <a:prstDash val="solid"/>
                  </a:ln>
                  <a:solidFill>
                    <a:schemeClr val="accent3"/>
                  </a:solidFill>
                  <a:effectLst/>
                  <a:latin typeface="+mj-lt"/>
                  <a:ea typeface="+mj-lt"/>
                  <a:cs typeface="+mj-lt"/>
                </a:rPr>
                <a:t>E10</a:t>
              </a:r>
            </a:p>
          </p:txBody>
        </p:sp>
        <p:sp>
          <p:nvSpPr>
            <p:cNvPr id="39" name="Rettangolo 20">
              <a:extLst>
                <a:ext uri="{FF2B5EF4-FFF2-40B4-BE49-F238E27FC236}">
                  <a16:creationId xmlns:a16="http://schemas.microsoft.com/office/drawing/2014/main" id="{D7A72EC9-84B7-34DE-0FE5-B2AE06F74BD7}"/>
                </a:ext>
              </a:extLst>
            </p:cNvPr>
            <p:cNvSpPr/>
            <p:nvPr/>
          </p:nvSpPr>
          <p:spPr>
            <a:xfrm rot="2115262">
              <a:off x="1889294" y="2011708"/>
              <a:ext cx="757525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91440" tIns="45720" rIns="91440" bIns="45720">
              <a:spAutoFit/>
            </a:bodyPr>
            <a:lstStyle/>
            <a:p>
              <a:pPr algn="ctr" rtl="0"/>
              <a:r>
                <a:rPr lang="pt-pt" sz="1400" b="0" i="0" u="none" cap="none" baseline="0">
                  <a:ln w="22225">
                    <a:noFill/>
                    <a:prstDash val="solid"/>
                  </a:ln>
                  <a:solidFill>
                    <a:schemeClr val="accent3"/>
                  </a:solidFill>
                  <a:effectLst/>
                  <a:latin typeface="+mj-lt"/>
                  <a:ea typeface="+mj-lt"/>
                  <a:cs typeface="+mj-lt"/>
                </a:rPr>
                <a:t>E10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4099930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6853B956-A9D5-F29C-535C-B186818E69DA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itle 17">
            <a:extLst>
              <a:ext uri="{FF2B5EF4-FFF2-40B4-BE49-F238E27FC236}">
                <a16:creationId xmlns:a16="http://schemas.microsoft.com/office/drawing/2014/main" id="{10A067B5-DE60-EA00-C696-4CA7D3CCF3CC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 algn="l" rtl="0"/>
            <a:r>
              <a:rPr lang="pt-pt" b="1" i="0" u="none" baseline="0"/>
              <a:t>2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23951358-B356-95DA-F2AF-F012B883DAD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Trabalhos a realizar</a:t>
            </a:r>
          </a:p>
        </p:txBody>
      </p:sp>
      <p:sp>
        <p:nvSpPr>
          <p:cNvPr id="16" name="Footer Placeholder 15">
            <a:extLst>
              <a:ext uri="{FF2B5EF4-FFF2-40B4-BE49-F238E27FC236}">
                <a16:creationId xmlns:a16="http://schemas.microsoft.com/office/drawing/2014/main" id="{CA4248EA-F000-8AC7-C28D-9EA87E7300D9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pPr algn="l" rtl="0"/>
            <a:r>
              <a:rPr lang="pt-pt" b="0" i="0" u="none" baseline="0"/>
              <a:t>CONFIDENCIAL DA EMPRESA</a:t>
            </a:r>
          </a:p>
        </p:txBody>
      </p:sp>
      <p:sp>
        <p:nvSpPr>
          <p:cNvPr id="17" name="Slide Number Placeholder 16">
            <a:extLst>
              <a:ext uri="{FF2B5EF4-FFF2-40B4-BE49-F238E27FC236}">
                <a16:creationId xmlns:a16="http://schemas.microsoft.com/office/drawing/2014/main" id="{F84252F4-619A-8100-A350-5401D2FE44B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algn="l" rtl="0"/>
            <a:fld id="{6C385236-B7BA-4938-9EA6-6DEC8CA653D7}" type="slidenum">
              <a:rPr/>
              <a:pPr/>
              <a:t>9</a:t>
            </a:fld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2703791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450">
        <p:fade/>
      </p:transition>
    </mc:Choice>
    <mc:Fallback xmlns="">
      <p:transition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Nilfisk Toolbox_Standard_4-3">
  <a:themeElements>
    <a:clrScheme name="Nilfisk Color-theme">
      <a:dk1>
        <a:srgbClr val="28313F"/>
      </a:dk1>
      <a:lt1>
        <a:srgbClr val="FFFFFF"/>
      </a:lt1>
      <a:dk2>
        <a:srgbClr val="8997A4"/>
      </a:dk2>
      <a:lt2>
        <a:srgbClr val="B3BBC5"/>
      </a:lt2>
      <a:accent1>
        <a:srgbClr val="6194AA"/>
      </a:accent1>
      <a:accent2>
        <a:srgbClr val="2496BE"/>
      </a:accent2>
      <a:accent3>
        <a:srgbClr val="38AFD9"/>
      </a:accent3>
      <a:accent4>
        <a:srgbClr val="38A8B4"/>
      </a:accent4>
      <a:accent5>
        <a:srgbClr val="68C18B"/>
      </a:accent5>
      <a:accent6>
        <a:srgbClr val="F47358"/>
      </a:accent6>
      <a:hlink>
        <a:srgbClr val="38AFD9"/>
      </a:hlink>
      <a:folHlink>
        <a:srgbClr val="38AFD9"/>
      </a:folHlink>
    </a:clrScheme>
    <a:fontScheme name="Nilfisk">
      <a:majorFont>
        <a:latin typeface="Roboto Bold"/>
        <a:ea typeface=""/>
        <a:cs typeface=""/>
      </a:majorFont>
      <a:minorFont>
        <a:latin typeface="Roboto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9525">
          <a:solidFill>
            <a:schemeClr val="accent1"/>
          </a:solidFill>
        </a:ln>
      </a:spPr>
      <a:bodyPr rtlCol="0" anchor="ctr"/>
      <a:lstStyle>
        <a:defPPr algn="ctr">
          <a:defRPr sz="200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accent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600" dirty="0"/>
        </a:defPPr>
      </a:lstStyle>
    </a:txDef>
  </a:objectDefaults>
  <a:extraClrSchemeLst/>
  <a:extLst>
    <a:ext uri="{05A4C25C-085E-4340-85A3-A5531E510DB2}">
      <thm15:themeFamily xmlns:thm15="http://schemas.microsoft.com/office/thememl/2012/main" name="Updated PowerPoint template 07-03-2022" id="{9E190E2A-A7A5-4E87-8010-778499B664C6}" vid="{A3FD54EC-67ED-411F-96C2-E7386872FA95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56df868-51cc-4d63-9bd1-3347174802f5" xsi:nil="true"/>
    <lcf76f155ced4ddcb4097134ff3c332f xmlns="6903b321-3545-4bfc-b111-7702843b6d40">
      <Terms xmlns="http://schemas.microsoft.com/office/infopath/2007/PartnerControls"/>
    </lcf76f155ced4ddcb4097134ff3c332f>
  </documentManagement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66ACC8E258210344A9FE922C0D29B270" ma:contentTypeVersion="16" ma:contentTypeDescription="Create a new document." ma:contentTypeScope="" ma:versionID="7f75597d7fbcce4bb4c5659ebeb6e82c">
  <xsd:schema xmlns:xsd="http://www.w3.org/2001/XMLSchema" xmlns:xs="http://www.w3.org/2001/XMLSchema" xmlns:p="http://schemas.microsoft.com/office/2006/metadata/properties" xmlns:ns2="6903b321-3545-4bfc-b111-7702843b6d40" xmlns:ns3="c56df868-51cc-4d63-9bd1-3347174802f5" targetNamespace="http://schemas.microsoft.com/office/2006/metadata/properties" ma:root="true" ma:fieldsID="937ca9a4be471557c120f3c6080bf290" ns2:_="" ns3:_="">
    <xsd:import namespace="6903b321-3545-4bfc-b111-7702843b6d40"/>
    <xsd:import namespace="c56df868-51cc-4d63-9bd1-3347174802f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ObjectDetectorVersions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MediaServiceSearchProperties" minOccurs="0"/>
                <xsd:element ref="ns2:MediaServiceLocation" minOccurs="0"/>
                <xsd:element ref="ns2:MediaServiceBilling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903b321-3545-4bfc-b111-7702843b6d4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ObjectDetectorVersions" ma:index="10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LengthInSeconds" ma:index="12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4" nillable="true" ma:taxonomy="true" ma:internalName="lcf76f155ced4ddcb4097134ff3c332f" ma:taxonomyFieldName="MediaServiceImageTags" ma:displayName="Image Tags" ma:readOnly="false" ma:fieldId="{5cf76f15-5ced-4ddc-b409-7134ff3c332f}" ma:taxonomyMulti="true" ma:sspId="f4d3e637-ff8d-4400-8b4f-c20cae65defd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16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7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8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SearchProperties" ma:index="21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Location" ma:index="22" nillable="true" ma:displayName="Location" ma:indexed="true" ma:internalName="MediaServiceLocation" ma:readOnly="true">
      <xsd:simpleType>
        <xsd:restriction base="dms:Text"/>
      </xsd:simpleType>
    </xsd:element>
    <xsd:element name="MediaServiceBillingMetadata" ma:index="23" nillable="true" ma:displayName="MediaServiceBillingMetadata" ma:hidden="true" ma:internalName="MediaServiceBillingMetadata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56df868-51cc-4d63-9bd1-3347174802f5" elementFormDefault="qualified">
    <xsd:import namespace="http://schemas.microsoft.com/office/2006/documentManagement/types"/>
    <xsd:import namespace="http://schemas.microsoft.com/office/infopath/2007/PartnerControls"/>
    <xsd:element name="TaxCatchAll" ma:index="15" nillable="true" ma:displayName="Taxonomy Catch All Column" ma:hidden="true" ma:list="{7cfb0581-86ba-4f70-b3d8-e2806a0a35f0}" ma:internalName="TaxCatchAll" ma:showField="CatchAllData" ma:web="c56df868-51cc-4d63-9bd1-3347174802f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SharedWithUsers" ma:index="19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20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8D9CF25-2968-4E35-9D7F-AFFFC6CD9F65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035D97F-54F6-4139-90B1-4BC360E16E53}">
  <ds:schemaRefs>
    <ds:schemaRef ds:uri="1b808c17-2139-49cd-a317-8fc80a969d6a"/>
    <ds:schemaRef ds:uri="4CFF4DF0-C362-4CE3-BC8D-D55629784E08"/>
    <ds:schemaRef ds:uri="6957957d-4a92-4580-a2cf-b69d4e975ccd"/>
    <ds:schemaRef ds:uri="a51901c0-0402-4d12-9849-aea77cadd7ee"/>
    <ds:schemaRef ds:uri="http://purl.org/dc/dcmitype/"/>
    <ds:schemaRef ds:uri="http://purl.org/dc/elements/1.1/"/>
    <ds:schemaRef ds:uri="http://purl.org/dc/terms/"/>
    <ds:schemaRef ds:uri="http://schemas.microsoft.com/office/2006/documentManagement/types"/>
    <ds:schemaRef ds:uri="http://schemas.microsoft.com/office/2006/metadata/properties"/>
    <ds:schemaRef ds:uri="http://schemas.microsoft.com/office/infopath/2007/PartnerControls"/>
    <ds:schemaRef ds:uri="http://schemas.openxmlformats.org/package/2006/metadata/core-properties"/>
    <ds:schemaRef ds:uri="http://www.w3.org/XML/1998/namespace"/>
    <ds:schemaRef ds:uri="c56df868-51cc-4d63-9bd1-3347174802f5"/>
    <ds:schemaRef ds:uri="6903b321-3545-4bfc-b111-7702843b6d40"/>
  </ds:schemaRefs>
</ds:datastoreItem>
</file>

<file path=customXml/itemProps3.xml><?xml version="1.0" encoding="utf-8"?>
<ds:datastoreItem xmlns:ds="http://schemas.openxmlformats.org/officeDocument/2006/customXml" ds:itemID="{379A42D3-B2AD-40C9-94EF-184C6A826BC7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903b321-3545-4bfc-b111-7702843b6d40"/>
    <ds:schemaRef ds:uri="c56df868-51cc-4d63-9bd1-3347174802f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21</TotalTime>
  <Words>3269</Words>
  <Application>Microsoft Office PowerPoint</Application>
  <PresentationFormat>Panorámica</PresentationFormat>
  <Paragraphs>762</Paragraphs>
  <Slides>30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9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30</vt:i4>
      </vt:variant>
    </vt:vector>
  </HeadingPairs>
  <TitlesOfParts>
    <vt:vector size="41" baseType="lpstr">
      <vt:lpstr>Arial</vt:lpstr>
      <vt:lpstr>Calibri</vt:lpstr>
      <vt:lpstr>Courier New</vt:lpstr>
      <vt:lpstr>Roboto Black</vt:lpstr>
      <vt:lpstr>Roboto Bold</vt:lpstr>
      <vt:lpstr>Roboto Light</vt:lpstr>
      <vt:lpstr>Roboto Light italic</vt:lpstr>
      <vt:lpstr>Roboto regular</vt:lpstr>
      <vt:lpstr>Wingdings</vt:lpstr>
      <vt:lpstr>Nilfisk Toolbox_Standard_4-3</vt:lpstr>
      <vt:lpstr>Diapositiva think-cell</vt:lpstr>
      <vt:lpstr>VHC010-VHC011 Gama de mini aspiradores industriais acionados por ar comprimido</vt:lpstr>
      <vt:lpstr>Agenda</vt:lpstr>
      <vt:lpstr>1</vt:lpstr>
      <vt:lpstr>VHC010 / VHC011 Z1</vt:lpstr>
      <vt:lpstr>Mini IVS</vt:lpstr>
      <vt:lpstr>Mini IVS</vt:lpstr>
      <vt:lpstr>Mini IVS</vt:lpstr>
      <vt:lpstr>Definição dos produtos: arquitetura de ar comprimido</vt:lpstr>
      <vt:lpstr>2</vt:lpstr>
      <vt:lpstr>Segmentos de foco e trabalhos a realizar</vt:lpstr>
      <vt:lpstr>3</vt:lpstr>
      <vt:lpstr>Principais características e design</vt:lpstr>
      <vt:lpstr>Principais características e design</vt:lpstr>
      <vt:lpstr>PullClean™</vt:lpstr>
      <vt:lpstr>Sistema de saco de segurança</vt:lpstr>
      <vt:lpstr>4</vt:lpstr>
      <vt:lpstr>Mini IVS VHC010 Z1 / EXP e VHC011 Z1 / EXP</vt:lpstr>
      <vt:lpstr>Mini IVS VHC010 e VHC011 poeira combustível</vt:lpstr>
      <vt:lpstr>Suporte de acessório</vt:lpstr>
      <vt:lpstr>Definição do produto</vt:lpstr>
      <vt:lpstr>Filtros VHC010 Z1 EXA </vt:lpstr>
      <vt:lpstr>Filtros VHC011 Z1 EXA </vt:lpstr>
      <vt:lpstr>5</vt:lpstr>
      <vt:lpstr>Dados técnicos – UE, Reino Unido</vt:lpstr>
      <vt:lpstr>Dados técnicos – EUA</vt:lpstr>
      <vt:lpstr>6</vt:lpstr>
      <vt:lpstr>Designação e hierarquia de produtos</vt:lpstr>
      <vt:lpstr>Números de peça e versões disponíveis na data de lançamento</vt:lpstr>
      <vt:lpstr>7</vt:lpstr>
      <vt:lpstr>Responsabilidade corporativa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nsert your presentation title here</dc:title>
  <dc:creator>Marzena Hensel</dc:creator>
  <cp:lastModifiedBy>Adrián Bora</cp:lastModifiedBy>
  <cp:revision>61</cp:revision>
  <dcterms:created xsi:type="dcterms:W3CDTF">2022-08-08T12:28:10Z</dcterms:created>
  <dcterms:modified xsi:type="dcterms:W3CDTF">2025-05-20T08:28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NXPowerLiteLastOptimized">
    <vt:lpwstr>2578482</vt:lpwstr>
  </property>
  <property fmtid="{D5CDD505-2E9C-101B-9397-08002B2CF9AE}" pid="3" name="NXPowerLiteSettings">
    <vt:lpwstr>A74006B004C800</vt:lpwstr>
  </property>
  <property fmtid="{D5CDD505-2E9C-101B-9397-08002B2CF9AE}" pid="4" name="NXPowerLiteVersion">
    <vt:lpwstr>D5.0.2</vt:lpwstr>
  </property>
  <property fmtid="{D5CDD505-2E9C-101B-9397-08002B2CF9AE}" pid="5" name="ContentTypeId">
    <vt:lpwstr>0x01010066ACC8E258210344A9FE922C0D29B270</vt:lpwstr>
  </property>
  <property fmtid="{D5CDD505-2E9C-101B-9397-08002B2CF9AE}" pid="6" name="MSIP_Label_8af657d4-2045-4871-9872-e323e3545d60_Enabled">
    <vt:lpwstr>true</vt:lpwstr>
  </property>
  <property fmtid="{D5CDD505-2E9C-101B-9397-08002B2CF9AE}" pid="7" name="MSIP_Label_8af657d4-2045-4871-9872-e323e3545d60_SetDate">
    <vt:lpwstr>2022-03-07T09:52:37Z</vt:lpwstr>
  </property>
  <property fmtid="{D5CDD505-2E9C-101B-9397-08002B2CF9AE}" pid="8" name="MSIP_Label_8af657d4-2045-4871-9872-e323e3545d60_Method">
    <vt:lpwstr>Privileged</vt:lpwstr>
  </property>
  <property fmtid="{D5CDD505-2E9C-101B-9397-08002B2CF9AE}" pid="9" name="MSIP_Label_8af657d4-2045-4871-9872-e323e3545d60_Name">
    <vt:lpwstr>Open sublabel</vt:lpwstr>
  </property>
  <property fmtid="{D5CDD505-2E9C-101B-9397-08002B2CF9AE}" pid="10" name="MSIP_Label_8af657d4-2045-4871-9872-e323e3545d60_SiteId">
    <vt:lpwstr>753c5d99-05be-4237-b4c5-fdb2e6b32ab2</vt:lpwstr>
  </property>
  <property fmtid="{D5CDD505-2E9C-101B-9397-08002B2CF9AE}" pid="11" name="MSIP_Label_8af657d4-2045-4871-9872-e323e3545d60_ActionId">
    <vt:lpwstr>dc55aacb-2282-478e-992e-416176343d0e</vt:lpwstr>
  </property>
  <property fmtid="{D5CDD505-2E9C-101B-9397-08002B2CF9AE}" pid="12" name="MSIP_Label_8af657d4-2045-4871-9872-e323e3545d60_ContentBits">
    <vt:lpwstr>0</vt:lpwstr>
  </property>
  <property fmtid="{D5CDD505-2E9C-101B-9397-08002B2CF9AE}" pid="13" name="MediaServiceImageTags">
    <vt:lpwstr/>
  </property>
</Properties>
</file>